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9" r:id="rId6"/>
    <p:sldMasterId id="2147483680" r:id="rId7"/>
    <p:sldMasterId id="2147483702" r:id="rId8"/>
    <p:sldMasterId id="2147483719" r:id="rId9"/>
    <p:sldMasterId id="2147483725" r:id="rId10"/>
    <p:sldMasterId id="2147483735" r:id="rId11"/>
  </p:sldMasterIdLst>
  <p:notesMasterIdLst>
    <p:notesMasterId r:id="rId31"/>
  </p:notesMasterIdLst>
  <p:sldIdLst>
    <p:sldId id="1011" r:id="rId12"/>
    <p:sldId id="991" r:id="rId13"/>
    <p:sldId id="2141411827" r:id="rId14"/>
    <p:sldId id="2141411841" r:id="rId15"/>
    <p:sldId id="2141411838" r:id="rId16"/>
    <p:sldId id="2141411118" r:id="rId17"/>
    <p:sldId id="327" r:id="rId18"/>
    <p:sldId id="2141411839" r:id="rId19"/>
    <p:sldId id="314" r:id="rId20"/>
    <p:sldId id="2141411844" r:id="rId21"/>
    <p:sldId id="2141411845" r:id="rId22"/>
    <p:sldId id="2141411846" r:id="rId23"/>
    <p:sldId id="2141411832" r:id="rId24"/>
    <p:sldId id="324" r:id="rId25"/>
    <p:sldId id="2141411855" r:id="rId26"/>
    <p:sldId id="407" r:id="rId27"/>
    <p:sldId id="408" r:id="rId28"/>
    <p:sldId id="2141411842" r:id="rId29"/>
    <p:sldId id="94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el Zaffran" initials="MZ" lastIdx="1" clrIdx="0">
    <p:extLst>
      <p:ext uri="{19B8F6BF-5375-455C-9EA6-DF929625EA0E}">
        <p15:presenceInfo xmlns:p15="http://schemas.microsoft.com/office/powerpoint/2012/main" userId="8a7ca06df0d4362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66581C-C121-4A74-923D-585698AAB595}" v="118" dt="2023-09-02T07:48:39.03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04" autoAdjust="0"/>
    <p:restoredTop sz="93792" autoAdjust="0"/>
  </p:normalViewPr>
  <p:slideViewPr>
    <p:cSldViewPr snapToGrid="0" showGuides="1">
      <p:cViewPr varScale="1">
        <p:scale>
          <a:sx n="77" d="100"/>
          <a:sy n="77" d="100"/>
        </p:scale>
        <p:origin x="120" y="22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51" d="100"/>
          <a:sy n="51" d="100"/>
        </p:scale>
        <p:origin x="2692"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5261DE-1C4D-4C9D-A0D0-DC1F101C5328}" type="datetimeFigureOut">
              <a:rPr lang="en-US" smtClean="0"/>
              <a:t>9/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BE9AB0-FA88-40A6-A993-43F2683562F9}" type="slidenum">
              <a:rPr lang="en-US" smtClean="0"/>
              <a:t>‹N°›</a:t>
            </a:fld>
            <a:endParaRPr lang="en-US"/>
          </a:p>
        </p:txBody>
      </p:sp>
    </p:spTree>
    <p:extLst>
      <p:ext uri="{BB962C8B-B14F-4D97-AF65-F5344CB8AC3E}">
        <p14:creationId xmlns:p14="http://schemas.microsoft.com/office/powerpoint/2010/main" val="1088407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9938"/>
            <a:ext cx="6572250" cy="3697287"/>
          </a:xfrm>
        </p:spPr>
      </p:sp>
      <p:sp>
        <p:nvSpPr>
          <p:cNvPr id="3" name="Notes Placeholder 2"/>
          <p:cNvSpPr>
            <a:spLocks noGrp="1"/>
          </p:cNvSpPr>
          <p:nvPr>
            <p:ph type="body" idx="1"/>
          </p:nvPr>
        </p:nvSpPr>
        <p:spPr/>
        <p:txBody>
          <a:bodyPr/>
          <a:lstStyle/>
          <a:p>
            <a:endParaRPr lang="en-GB" b="1" dirty="0"/>
          </a:p>
          <a:p>
            <a:endParaRPr lang="en-US" dirty="0"/>
          </a:p>
          <a:p>
            <a:endParaRPr lang="en-US" b="1" dirty="0"/>
          </a:p>
          <a:p>
            <a:endParaRPr lang="en-US" dirty="0"/>
          </a:p>
          <a:p>
            <a:endParaRPr lang="en-US" dirty="0"/>
          </a:p>
        </p:txBody>
      </p:sp>
    </p:spTree>
    <p:extLst>
      <p:ext uri="{BB962C8B-B14F-4D97-AF65-F5344CB8AC3E}">
        <p14:creationId xmlns:p14="http://schemas.microsoft.com/office/powerpoint/2010/main" val="320512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CB2294-2815-0641-BA18-00635844A3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Espace réservé des notes 5">
            <a:extLst>
              <a:ext uri="{FF2B5EF4-FFF2-40B4-BE49-F238E27FC236}">
                <a16:creationId xmlns:a16="http://schemas.microsoft.com/office/drawing/2014/main" id="{26911831-47E6-48C2-9216-C104ED1B7A0D}"/>
              </a:ext>
            </a:extLst>
          </p:cNvPr>
          <p:cNvSpPr>
            <a:spLocks noGrp="1"/>
          </p:cNvSpPr>
          <p:nvPr>
            <p:ph type="body" sz="quarter" idx="3"/>
          </p:nvPr>
        </p:nvSpPr>
        <p:spPr/>
        <p:txBody>
          <a:bodyPr/>
          <a:lstStyle/>
          <a:p>
            <a:endParaRPr lang="fr-FR"/>
          </a:p>
        </p:txBody>
      </p:sp>
    </p:spTree>
    <p:extLst>
      <p:ext uri="{BB962C8B-B14F-4D97-AF65-F5344CB8AC3E}">
        <p14:creationId xmlns:p14="http://schemas.microsoft.com/office/powerpoint/2010/main" val="220606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3BE9AB0-FA88-40A6-A993-43F2683562F9}" type="slidenum">
              <a:rPr lang="en-US" smtClean="0"/>
              <a:t>15</a:t>
            </a:fld>
            <a:endParaRPr lang="en-US"/>
          </a:p>
        </p:txBody>
      </p:sp>
    </p:spTree>
    <p:extLst>
      <p:ext uri="{BB962C8B-B14F-4D97-AF65-F5344CB8AC3E}">
        <p14:creationId xmlns:p14="http://schemas.microsoft.com/office/powerpoint/2010/main" val="93160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Rot="1" noChangeAspect="1" noChangeArrowheads="1" noTextEdit="1"/>
          </p:cNvSpPr>
          <p:nvPr>
            <p:ph type="sldImg"/>
          </p:nvPr>
        </p:nvSpPr>
        <p:spPr>
          <a:xfrm>
            <a:off x="141288" y="769938"/>
            <a:ext cx="6573837" cy="3698875"/>
          </a:xfrm>
          <a:ln/>
        </p:spPr>
      </p:sp>
      <p:sp>
        <p:nvSpPr>
          <p:cNvPr id="4" name="Rectangle 3"/>
          <p:cNvSpPr>
            <a:spLocks noGrp="1" noChangeArrowheads="1"/>
          </p:cNvSpPr>
          <p:nvPr>
            <p:ph type="body" idx="1"/>
          </p:nvPr>
        </p:nvSpPr>
        <p:spPr>
          <a:xfrm>
            <a:off x="690935" y="4787209"/>
            <a:ext cx="5533965" cy="4532105"/>
          </a:xfrm>
          <a:noFill/>
        </p:spPr>
        <p:txBody>
          <a:bodyPr/>
          <a:lstStyle/>
          <a:p>
            <a:endParaRPr lang="en-US"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39700" y="769938"/>
            <a:ext cx="6572250" cy="3697287"/>
          </a:xfrm>
          <a:ln/>
        </p:spPr>
      </p:sp>
      <p:sp>
        <p:nvSpPr>
          <p:cNvPr id="4" name="Rectangle 3"/>
          <p:cNvSpPr>
            <a:spLocks noGrp="1" noChangeArrowheads="1"/>
          </p:cNvSpPr>
          <p:nvPr>
            <p:ph type="body" idx="1"/>
          </p:nvPr>
        </p:nvSpPr>
        <p:spPr>
          <a:xfrm>
            <a:off x="690935" y="4787209"/>
            <a:ext cx="5533965" cy="4532105"/>
          </a:xfrm>
          <a:noFill/>
        </p:spPr>
        <p:txBody>
          <a:bodyPr/>
          <a:lstStyle/>
          <a:p>
            <a:r>
              <a:rPr lang="fr-FR" altLang="en-US" dirty="0"/>
              <a:t>En 1988, plus de 125 pays étaient endémiques de la poliomyélite.</a:t>
            </a:r>
          </a:p>
          <a:p>
            <a:endParaRPr lang="fr-FR" altLang="en-US" dirty="0"/>
          </a:p>
          <a:p>
            <a:r>
              <a:rPr lang="fr-FR" altLang="en-US" dirty="0"/>
              <a:t>Et chaque année, plus de 350 000 enfants </a:t>
            </a:r>
            <a:r>
              <a:rPr lang="fr-FR" altLang="en-US" dirty="0" err="1"/>
              <a:t>etaient</a:t>
            </a:r>
            <a:r>
              <a:rPr lang="fr-FR" altLang="en-US" dirty="0"/>
              <a:t> paralysés à vie par la maladie.</a:t>
            </a:r>
            <a:endParaRPr lang="en-US"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93663" y="746125"/>
            <a:ext cx="6626225" cy="3727450"/>
          </a:xfrm>
          <a:ln/>
        </p:spPr>
      </p:sp>
      <p:sp>
        <p:nvSpPr>
          <p:cNvPr id="3" name="Notes Placeholder 2"/>
          <p:cNvSpPr>
            <a:spLocks noGrp="1"/>
          </p:cNvSpPr>
          <p:nvPr>
            <p:ph type="body" idx="3"/>
          </p:nvPr>
        </p:nvSpPr>
        <p:spPr>
          <a:xfrm>
            <a:off x="680562" y="4723251"/>
            <a:ext cx="5447666" cy="4472065"/>
          </a:xfrm>
          <a:noFill/>
        </p:spPr>
        <p:txBody>
          <a:bodyPr/>
          <a:lstStyle/>
          <a:p>
            <a:r>
              <a:rPr lang="en-GB" dirty="0"/>
              <a:t>Les </a:t>
            </a:r>
            <a:r>
              <a:rPr lang="en-GB" dirty="0" err="1"/>
              <a:t>derniers</a:t>
            </a:r>
            <a:r>
              <a:rPr lang="en-GB" dirty="0"/>
              <a:t> </a:t>
            </a:r>
            <a:r>
              <a:rPr lang="en-GB" dirty="0" err="1"/>
              <a:t>cas</a:t>
            </a:r>
            <a:r>
              <a:rPr lang="en-GB" dirty="0"/>
              <a:t>, </a:t>
            </a:r>
            <a:r>
              <a:rPr lang="en-GB" dirty="0" err="1"/>
              <a:t>ainsi</a:t>
            </a:r>
            <a:r>
              <a:rPr lang="en-GB" dirty="0"/>
              <a:t> </a:t>
            </a:r>
            <a:r>
              <a:rPr lang="en-GB" dirty="0" err="1"/>
              <a:t>que</a:t>
            </a:r>
            <a:r>
              <a:rPr lang="en-GB" dirty="0"/>
              <a:t> le </a:t>
            </a:r>
            <a:r>
              <a:rPr lang="en-GB" dirty="0" err="1"/>
              <a:t>dernier</a:t>
            </a:r>
            <a:r>
              <a:rPr lang="en-GB" dirty="0"/>
              <a:t> </a:t>
            </a:r>
            <a:r>
              <a:rPr lang="en-GB" dirty="0" err="1"/>
              <a:t>cas</a:t>
            </a:r>
            <a:r>
              <a:rPr lang="en-GB" dirty="0"/>
              <a:t> de </a:t>
            </a:r>
            <a:r>
              <a:rPr lang="en-GB" dirty="0" err="1"/>
              <a:t>variole</a:t>
            </a:r>
            <a:r>
              <a:rPr lang="en-GB" dirty="0"/>
              <a:t>, Ali </a:t>
            </a:r>
            <a:r>
              <a:rPr lang="en-GB" dirty="0" err="1"/>
              <a:t>Maalin</a:t>
            </a:r>
            <a:r>
              <a:rPr lang="en-GB" dirty="0"/>
              <a:t> </a:t>
            </a:r>
            <a:r>
              <a:rPr lang="en-GB" dirty="0" err="1"/>
              <a:t>en</a:t>
            </a:r>
            <a:r>
              <a:rPr lang="en-GB" dirty="0"/>
              <a:t> </a:t>
            </a:r>
            <a:r>
              <a:rPr lang="en-GB" dirty="0" err="1"/>
              <a:t>Somalie</a:t>
            </a:r>
            <a:r>
              <a:rPr lang="en-GB" dirty="0"/>
              <a:t>, pour </a:t>
            </a:r>
            <a:r>
              <a:rPr lang="en-GB" dirty="0" err="1"/>
              <a:t>illustrer</a:t>
            </a:r>
            <a:r>
              <a:rPr lang="en-GB" dirty="0"/>
              <a:t> </a:t>
            </a:r>
            <a:r>
              <a:rPr lang="en-GB" dirty="0" err="1"/>
              <a:t>que</a:t>
            </a:r>
            <a:r>
              <a:rPr lang="en-GB" dirty="0"/>
              <a:t> </a:t>
            </a:r>
            <a:r>
              <a:rPr lang="en-GB" dirty="0" err="1"/>
              <a:t>l'eradication</a:t>
            </a:r>
            <a:r>
              <a:rPr lang="en-GB" dirty="0"/>
              <a:t> </a:t>
            </a:r>
            <a:r>
              <a:rPr lang="en-GB" dirty="0" err="1"/>
              <a:t>d'une</a:t>
            </a:r>
            <a:r>
              <a:rPr lang="en-GB" dirty="0"/>
              <a:t> </a:t>
            </a:r>
            <a:r>
              <a:rPr lang="en-GB" dirty="0" err="1"/>
              <a:t>maladie</a:t>
            </a:r>
            <a:r>
              <a:rPr lang="en-GB" dirty="0"/>
              <a:t> </a:t>
            </a:r>
            <a:r>
              <a:rPr lang="en-GB" dirty="0" err="1"/>
              <a:t>est</a:t>
            </a:r>
            <a:r>
              <a:rPr lang="en-GB" dirty="0"/>
              <a:t> </a:t>
            </a:r>
            <a:r>
              <a:rPr lang="en-GB" dirty="0" err="1"/>
              <a:t>quelque</a:t>
            </a:r>
            <a:r>
              <a:rPr lang="en-GB" dirty="0"/>
              <a:t> chose de </a:t>
            </a:r>
            <a:r>
              <a:rPr lang="en-GB" dirty="0" err="1"/>
              <a:t>historique</a:t>
            </a:r>
            <a:r>
              <a:rPr lang="en-GB" dirty="0"/>
              <a:t>.</a:t>
            </a:r>
          </a:p>
          <a:p>
            <a:endParaRPr lang="en-GB" noProof="0" dirty="0"/>
          </a:p>
          <a:p>
            <a:r>
              <a:rPr lang="en-GB" dirty="0"/>
              <a:t>Les </a:t>
            </a:r>
            <a:r>
              <a:rPr lang="en-GB" dirty="0" err="1"/>
              <a:t>derniers</a:t>
            </a:r>
            <a:r>
              <a:rPr lang="en-GB" dirty="0"/>
              <a:t> </a:t>
            </a:r>
            <a:r>
              <a:rPr lang="en-GB" dirty="0" err="1"/>
              <a:t>cas</a:t>
            </a:r>
            <a:r>
              <a:rPr lang="en-GB" dirty="0"/>
              <a:t> de polio:</a:t>
            </a:r>
          </a:p>
          <a:p>
            <a:r>
              <a:rPr lang="en-GB" noProof="0" dirty="0"/>
              <a:t>Les </a:t>
            </a:r>
            <a:r>
              <a:rPr lang="en-GB" noProof="0" dirty="0" err="1"/>
              <a:t>Ameriques</a:t>
            </a:r>
            <a:r>
              <a:rPr lang="en-GB" noProof="0" dirty="0"/>
              <a:t> (</a:t>
            </a:r>
            <a:r>
              <a:rPr lang="en-GB" noProof="0" dirty="0" err="1"/>
              <a:t>Perou</a:t>
            </a:r>
            <a:r>
              <a:rPr lang="en-GB" noProof="0" dirty="0"/>
              <a:t>) </a:t>
            </a:r>
            <a:r>
              <a:rPr lang="en-GB" noProof="0" dirty="0" err="1"/>
              <a:t>en</a:t>
            </a:r>
            <a:r>
              <a:rPr lang="en-GB" noProof="0" dirty="0"/>
              <a:t> 1991:  Luis </a:t>
            </a:r>
            <a:r>
              <a:rPr lang="en-GB" noProof="0" dirty="0" err="1"/>
              <a:t>Fermin</a:t>
            </a:r>
            <a:r>
              <a:rPr lang="en-GB" noProof="0" dirty="0"/>
              <a:t> </a:t>
            </a:r>
            <a:r>
              <a:rPr lang="en-GB" noProof="0" dirty="0" err="1"/>
              <a:t>Tenoria</a:t>
            </a:r>
            <a:endParaRPr lang="en-GB" noProof="0" dirty="0"/>
          </a:p>
          <a:p>
            <a:r>
              <a:rPr lang="en-GB" dirty="0"/>
              <a:t>Le </a:t>
            </a:r>
            <a:r>
              <a:rPr lang="en-GB" dirty="0" err="1"/>
              <a:t>Pacifique</a:t>
            </a:r>
            <a:r>
              <a:rPr lang="en-GB" dirty="0"/>
              <a:t> </a:t>
            </a:r>
            <a:r>
              <a:rPr lang="en-GB" dirty="0" err="1"/>
              <a:t>occidentale</a:t>
            </a:r>
            <a:r>
              <a:rPr lang="en-GB" dirty="0"/>
              <a:t> (</a:t>
            </a:r>
            <a:r>
              <a:rPr lang="en-GB" dirty="0" err="1"/>
              <a:t>Cambodge</a:t>
            </a:r>
            <a:r>
              <a:rPr lang="en-GB" dirty="0"/>
              <a:t>) </a:t>
            </a:r>
            <a:r>
              <a:rPr lang="en-GB" dirty="0" err="1"/>
              <a:t>en</a:t>
            </a:r>
            <a:r>
              <a:rPr lang="en-GB" dirty="0"/>
              <a:t> 1997:  Mom Chanty</a:t>
            </a:r>
          </a:p>
          <a:p>
            <a:r>
              <a:rPr lang="en-GB" noProof="0" dirty="0" err="1"/>
              <a:t>L'Europe</a:t>
            </a:r>
            <a:r>
              <a:rPr lang="en-GB" noProof="0" dirty="0"/>
              <a:t> (la </a:t>
            </a:r>
            <a:r>
              <a:rPr lang="en-GB" noProof="0" dirty="0" err="1"/>
              <a:t>Turquie</a:t>
            </a:r>
            <a:r>
              <a:rPr lang="en-GB" noProof="0" dirty="0"/>
              <a:t>) </a:t>
            </a:r>
            <a:r>
              <a:rPr lang="en-GB" noProof="0" dirty="0" err="1"/>
              <a:t>en</a:t>
            </a:r>
            <a:r>
              <a:rPr lang="en-GB" noProof="0" dirty="0"/>
              <a:t> 1998:  </a:t>
            </a:r>
            <a:r>
              <a:rPr lang="en-GB" noProof="0" dirty="0" err="1"/>
              <a:t>Melik</a:t>
            </a:r>
            <a:r>
              <a:rPr lang="en-GB" noProof="0" dirty="0"/>
              <a:t> Minas</a:t>
            </a:r>
          </a:p>
          <a:p>
            <a:r>
              <a:rPr lang="en-GB" dirty="0" err="1"/>
              <a:t>L'Asie</a:t>
            </a:r>
            <a:r>
              <a:rPr lang="en-GB" dirty="0"/>
              <a:t> </a:t>
            </a:r>
            <a:r>
              <a:rPr lang="en-GB" dirty="0" err="1"/>
              <a:t>Sud-est</a:t>
            </a:r>
            <a:r>
              <a:rPr lang="en-GB" dirty="0"/>
              <a:t> (</a:t>
            </a:r>
            <a:r>
              <a:rPr lang="en-GB" dirty="0" err="1"/>
              <a:t>Inde</a:t>
            </a:r>
            <a:r>
              <a:rPr lang="en-GB" dirty="0"/>
              <a:t>) </a:t>
            </a:r>
            <a:r>
              <a:rPr lang="en-GB" dirty="0" err="1"/>
              <a:t>en</a:t>
            </a:r>
            <a:r>
              <a:rPr lang="en-GB" dirty="0"/>
              <a:t> 2011:  </a:t>
            </a:r>
            <a:r>
              <a:rPr lang="en-GB" dirty="0" err="1"/>
              <a:t>Rukhsar</a:t>
            </a:r>
            <a:r>
              <a:rPr lang="en-GB" dirty="0"/>
              <a:t> </a:t>
            </a:r>
            <a:r>
              <a:rPr lang="en-GB" dirty="0" err="1"/>
              <a:t>Khatoon</a:t>
            </a:r>
            <a:endParaRPr lang="fr-FR" noProof="0" dirty="0"/>
          </a:p>
        </p:txBody>
      </p:sp>
    </p:spTree>
    <p:extLst>
      <p:ext uri="{BB962C8B-B14F-4D97-AF65-F5344CB8AC3E}">
        <p14:creationId xmlns:p14="http://schemas.microsoft.com/office/powerpoint/2010/main" val="3439428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3BE9AB0-FA88-40A6-A993-43F2683562F9}" type="slidenum">
              <a:rPr lang="en-US" smtClean="0"/>
              <a:t>5</a:t>
            </a:fld>
            <a:endParaRPr lang="en-US"/>
          </a:p>
        </p:txBody>
      </p:sp>
    </p:spTree>
    <p:extLst>
      <p:ext uri="{BB962C8B-B14F-4D97-AF65-F5344CB8AC3E}">
        <p14:creationId xmlns:p14="http://schemas.microsoft.com/office/powerpoint/2010/main" val="41290899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3BE9AB0-FA88-40A6-A993-43F2683562F9}" type="slidenum">
              <a:rPr lang="en-US" smtClean="0"/>
              <a:t>6</a:t>
            </a:fld>
            <a:endParaRPr lang="en-US"/>
          </a:p>
        </p:txBody>
      </p:sp>
    </p:spTree>
    <p:extLst>
      <p:ext uri="{BB962C8B-B14F-4D97-AF65-F5344CB8AC3E}">
        <p14:creationId xmlns:p14="http://schemas.microsoft.com/office/powerpoint/2010/main" val="2219917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5"/>
          </p:nvPr>
        </p:nvSpPr>
        <p:spPr/>
        <p:txBody>
          <a:bodyPr/>
          <a:lstStyle/>
          <a:p>
            <a:fld id="{ADE27435-6819-4424-9FA1-09DF327631B9}" type="slidenum">
              <a:rPr lang="en-GB" smtClean="0"/>
              <a:t>7</a:t>
            </a:fld>
            <a:endParaRPr lang="en-GB"/>
          </a:p>
        </p:txBody>
      </p:sp>
    </p:spTree>
    <p:extLst>
      <p:ext uri="{BB962C8B-B14F-4D97-AF65-F5344CB8AC3E}">
        <p14:creationId xmlns:p14="http://schemas.microsoft.com/office/powerpoint/2010/main" val="2997503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CB2294-2815-0641-BA18-00635844A3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116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lstStyle/>
          <a:p>
            <a:endParaRPr lang="en-US" baseline="0" dirty="0"/>
          </a:p>
          <a:p>
            <a:r>
              <a:rPr lang="en-US" baseline="0" dirty="0"/>
              <a:t>The COVID-19 pandemic has been an unanticipated challenged in 2020; a “curveball” that nobody could have anticipated. This is a recent map that shows the countries affected by COVID-19. It is reminiscent of the maps from the early days of our fight against polio – a virus that has impacted life throughout the world and which, like polio was not well understood and initially lacked a preventive vaccine or effective cure and therefore placing an extraordinary public health threat to communities and burden on health systems.</a:t>
            </a:r>
          </a:p>
          <a:p>
            <a:r>
              <a:rPr lang="en-US" baseline="0" dirty="0"/>
              <a:t>Due to the unique nature of COVID-19 and the way the virus spreads, immunization activities, particularly mass immunization campaigns including those for polio were paused for several months beginning in March 2020.  As of 20 July, both Afghanistan and Pakistan have resumed polio immunization activities as have several countries in Africa-all observing safety protocols to keep frontline health workers and communities safe. </a:t>
            </a:r>
          </a:p>
          <a:p>
            <a:r>
              <a:rPr lang="en-US" dirty="0"/>
              <a:t>During this time, polio workers and surveillance system—the PolioPlus infrastructure-- that make up the backbone of the GPEI are fighting COVID-19 in the ways shown on this slide.  Front line health workers and teaching communities how to keep safe from COVID; surveillance medical officers are investigating cases of polio and COVID and providing training for front line health care workers.  And just as they do for polio, when a person tests positive for COVID, their close contacts are also tested to determine if the virus is spreading. This is a demonstrable example of the “Plus” in PolioPlus.</a:t>
            </a:r>
          </a:p>
        </p:txBody>
      </p:sp>
      <p:sp>
        <p:nvSpPr>
          <p:cNvPr id="4" name="Slide Number Placeholder 3"/>
          <p:cNvSpPr>
            <a:spLocks noGrp="1"/>
          </p:cNvSpPr>
          <p:nvPr>
            <p:ph type="sldNum" sz="quarter" idx="10"/>
          </p:nvPr>
        </p:nvSpPr>
        <p:spPr/>
        <p:txBody>
          <a:bodyPr/>
          <a:lstStyle/>
          <a:p>
            <a:fld id="{55CB2294-2815-0641-BA18-00635844A3C8}" type="slidenum">
              <a:rPr lang="en-US" smtClean="0"/>
              <a:t>9</a:t>
            </a:fld>
            <a:endParaRPr lang="en-US" dirty="0"/>
          </a:p>
        </p:txBody>
      </p:sp>
    </p:spTree>
    <p:extLst>
      <p:ext uri="{BB962C8B-B14F-4D97-AF65-F5344CB8AC3E}">
        <p14:creationId xmlns:p14="http://schemas.microsoft.com/office/powerpoint/2010/main" val="568566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xfrm>
            <a:off x="92075" y="746125"/>
            <a:ext cx="6624638" cy="3727450"/>
          </a:xfrm>
          <a:ln/>
        </p:spPr>
      </p:sp>
      <p:sp>
        <p:nvSpPr>
          <p:cNvPr id="2" name="Notes Placeholder 1"/>
          <p:cNvSpPr>
            <a:spLocks noGrp="1"/>
          </p:cNvSpPr>
          <p:nvPr>
            <p:ph type="body" sz="quarter" idx="10"/>
          </p:nvPr>
        </p:nvSpPr>
        <p:spPr>
          <a:xfrm>
            <a:off x="685800" y="4670426"/>
            <a:ext cx="5486400" cy="3600450"/>
          </a:xfrm>
        </p:spPr>
        <p:txBody>
          <a:bodyPr/>
          <a:lstStyle/>
          <a:p>
            <a:r>
              <a:rPr lang="fr-FR" dirty="0"/>
              <a:t>Cependant, si nous n'éradiquons PAS la polio, la maladie reviendra en force. La poliomyélite est une maladie hautement infectieuse, elle est sujette aux épidémies et, dans un monde interconnecté, les pays exempts de poliomyélite seront à nouveau rapidement infectés.</a:t>
            </a:r>
          </a:p>
          <a:p>
            <a:endParaRPr lang="fr-FR" dirty="0"/>
          </a:p>
          <a:p>
            <a:r>
              <a:rPr lang="fr-FR" dirty="0"/>
              <a:t>Nous avons constaté maintes et maintes fois que la polio se propageait à nouveau dans des zones auparavant exemptes de poliomyélite. Cette diapositive montre une carte de tous les cas de poliomyélite de 2003 à 2017. Comme vous pouvez le constater, la poliomyélite s'est répandue de manière répétée à partir de zones d'endémie à travers le monde. Toutes ces épidémies sont à nouveau stoppées, ce qui est encourageant. Mais nous savons que si nous n'éradiquons pas la maladie dans les zones d'endémie restantes, elle se propagera à nouveau.</a:t>
            </a:r>
          </a:p>
          <a:p>
            <a:r>
              <a:rPr lang="fr-FR" dirty="0"/>
              <a:t>  Si nous n'éradiquons pas complètement la polio, nous savons que dans 10 ans, la poliomyélite se répandra à nouveau dans le monde entier et que, chaque année, 200 000 enfants seront à nouveau paralysés à vie par la polio. </a:t>
            </a:r>
          </a:p>
          <a:p>
            <a:r>
              <a:rPr lang="fr-FR" dirty="0"/>
              <a:t>C'est pourquoi nous devons éradiquer la poliomyélite complètement, partout.</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defTabSz="914400">
              <a:defRPr/>
            </a:lvl1pPr>
          </a:lstStyle>
          <a:p>
            <a:pPr>
              <a:defRPr/>
            </a:pPr>
            <a:fld id="{3445BD1D-7F01-4766-9D76-15116978EDA8}" type="slidenum">
              <a:rPr lang="en-US"/>
              <a:pPr>
                <a:defRPr/>
              </a:pPr>
              <a:t>‹N°›</a:t>
            </a:fld>
            <a:endParaRPr lang="en-US" dirty="0"/>
          </a:p>
        </p:txBody>
      </p:sp>
    </p:spTree>
    <p:extLst>
      <p:ext uri="{BB962C8B-B14F-4D97-AF65-F5344CB8AC3E}">
        <p14:creationId xmlns:p14="http://schemas.microsoft.com/office/powerpoint/2010/main" val="2585113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a:pPr>
                <a:defRPr/>
              </a:pPr>
              <a:t>‹N°›</a:t>
            </a:fld>
            <a:endParaRPr lang="en-US" dirty="0"/>
          </a:p>
        </p:txBody>
      </p:sp>
    </p:spTree>
    <p:extLst>
      <p:ext uri="{BB962C8B-B14F-4D97-AF65-F5344CB8AC3E}">
        <p14:creationId xmlns:p14="http://schemas.microsoft.com/office/powerpoint/2010/main" val="42935725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a:pPr>
                <a:defRPr/>
              </a:pPr>
              <a:t>‹N°›</a:t>
            </a:fld>
            <a:endParaRPr lang="en-US" dirty="0"/>
          </a:p>
        </p:txBody>
      </p:sp>
    </p:spTree>
    <p:extLst>
      <p:ext uri="{BB962C8B-B14F-4D97-AF65-F5344CB8AC3E}">
        <p14:creationId xmlns:p14="http://schemas.microsoft.com/office/powerpoint/2010/main" val="8892119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42" y="1718734"/>
            <a:ext cx="11106150" cy="4519084"/>
          </a:xfrm>
          <a:prstGeom prst="rect">
            <a:avLst/>
          </a:prstGeo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7498086" y="6527945"/>
            <a:ext cx="3860800" cy="207464"/>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dirty="0">
              <a:solidFill>
                <a:srgbClr val="000000"/>
              </a:solidFill>
            </a:endParaRPr>
          </a:p>
        </p:txBody>
      </p:sp>
      <p:sp>
        <p:nvSpPr>
          <p:cNvPr id="2" name="Title 1"/>
          <p:cNvSpPr>
            <a:spLocks noGrp="1"/>
          </p:cNvSpPr>
          <p:nvPr>
            <p:ph type="title" hasCustomPrompt="1"/>
          </p:nvPr>
        </p:nvSpPr>
        <p:spPr>
          <a:xfrm>
            <a:off x="486842" y="646258"/>
            <a:ext cx="11106150" cy="697577"/>
          </a:xfrm>
          <a:prstGeom prst="rect">
            <a:avLst/>
          </a:prstGeo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966002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1" y="6356365"/>
            <a:ext cx="27432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038602" y="6356365"/>
            <a:ext cx="4114799" cy="365125"/>
          </a:xfrm>
          <a:prstGeom prst="rect">
            <a:avLst/>
          </a:prstGeom>
        </p:spPr>
        <p:txBody>
          <a:bodyPr/>
          <a:lstStyle/>
          <a:p>
            <a:endParaRPr lang="en-US" dirty="0"/>
          </a:p>
        </p:txBody>
      </p:sp>
      <p:sp>
        <p:nvSpPr>
          <p:cNvPr id="18" name="Title 1"/>
          <p:cNvSpPr>
            <a:spLocks noGrp="1"/>
          </p:cNvSpPr>
          <p:nvPr>
            <p:ph type="ctrTitle"/>
          </p:nvPr>
        </p:nvSpPr>
        <p:spPr>
          <a:xfrm>
            <a:off x="773291" y="407994"/>
            <a:ext cx="10363200" cy="506413"/>
          </a:xfrm>
          <a:prstGeom prst="rect">
            <a:avLst/>
          </a:prstGeom>
        </p:spPr>
        <p:txBody>
          <a:bodyPr/>
          <a:lstStyle>
            <a:lvl1pPr algn="l">
              <a:defRPr sz="2800" b="0">
                <a:solidFill>
                  <a:srgbClr val="333399"/>
                </a:solidFill>
                <a:latin typeface="Arial"/>
                <a:cs typeface="Arial"/>
              </a:defRPr>
            </a:lvl1pPr>
          </a:lstStyle>
          <a:p>
            <a:r>
              <a:rPr lang="en-US"/>
              <a:t>Click to edit Master title style</a:t>
            </a:r>
            <a:endParaRPr lang="en-US" dirty="0"/>
          </a:p>
        </p:txBody>
      </p:sp>
      <p:sp>
        <p:nvSpPr>
          <p:cNvPr id="5" name="Slide Number Placeholder 4"/>
          <p:cNvSpPr>
            <a:spLocks noGrp="1"/>
          </p:cNvSpPr>
          <p:nvPr>
            <p:ph type="sldNum" sz="quarter" idx="12"/>
          </p:nvPr>
        </p:nvSpPr>
        <p:spPr>
          <a:xfrm>
            <a:off x="8610599" y="6356365"/>
            <a:ext cx="2743200" cy="365125"/>
          </a:xfrm>
          <a:prstGeom prst="rect">
            <a:avLst/>
          </a:prstGeom>
        </p:spPr>
        <p:txBody>
          <a:bodyPr/>
          <a:lstStyle/>
          <a:p>
            <a:endParaRPr lang="en-US" dirty="0"/>
          </a:p>
          <a:p>
            <a:fld id="{20E72F2D-B2AC-6244-8A61-4DB2981BEBB5}" type="slidenum">
              <a:rPr lang="en-US" smtClean="0"/>
              <a:pPr/>
              <a:t>‹N°›</a:t>
            </a:fld>
            <a:endParaRPr lang="en-US" dirty="0"/>
          </a:p>
          <a:p>
            <a:endParaRPr lang="en-US" dirty="0"/>
          </a:p>
        </p:txBody>
      </p:sp>
      <p:sp>
        <p:nvSpPr>
          <p:cNvPr id="11" name="Text Placeholder 10"/>
          <p:cNvSpPr>
            <a:spLocks noGrp="1"/>
          </p:cNvSpPr>
          <p:nvPr>
            <p:ph type="body" sz="quarter" idx="14"/>
          </p:nvPr>
        </p:nvSpPr>
        <p:spPr>
          <a:xfrm>
            <a:off x="772594" y="1574800"/>
            <a:ext cx="10606615" cy="3492500"/>
          </a:xfrm>
          <a:prstGeom prst="rect">
            <a:avLst/>
          </a:prstGeom>
        </p:spPr>
        <p:txBody>
          <a:bodyPr vert="horz"/>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187091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51671" y="482572"/>
            <a:ext cx="10623549" cy="512961"/>
          </a:xfrm>
          <a:prstGeom prst="rect">
            <a:avLst/>
          </a:prstGeo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11193961" y="6461502"/>
            <a:ext cx="588433" cy="365125"/>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smtClean="0">
                <a:solidFill>
                  <a:srgbClr val="59452A"/>
                </a:solidFill>
              </a:rPr>
              <a:pPr defTabSz="685700"/>
              <a:t>‹N°›</a:t>
            </a:fld>
            <a:endParaRPr lang="en-US" dirty="0">
              <a:solidFill>
                <a:srgbClr val="59452A"/>
              </a:solidFill>
            </a:endParaRPr>
          </a:p>
        </p:txBody>
      </p:sp>
      <p:sp>
        <p:nvSpPr>
          <p:cNvPr id="8" name="Text Placeholder 11"/>
          <p:cNvSpPr>
            <a:spLocks noGrp="1"/>
          </p:cNvSpPr>
          <p:nvPr>
            <p:ph type="body" sz="quarter" idx="13"/>
          </p:nvPr>
        </p:nvSpPr>
        <p:spPr>
          <a:xfrm>
            <a:off x="750371" y="1531737"/>
            <a:ext cx="10602382" cy="4378396"/>
          </a:xfrm>
          <a:prstGeom prst="rect">
            <a:avLst/>
          </a:prstGeo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532799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549314" y="1557346"/>
            <a:ext cx="5506247" cy="47958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236149" y="1557346"/>
            <a:ext cx="5508127" cy="4795837"/>
          </a:xfrm>
          <a:prstGeom prst="rect">
            <a:avLst/>
          </a:prstGeom>
        </p:spPr>
        <p:txBody>
          <a:bodyPr/>
          <a:lstStyle/>
          <a:p>
            <a:pPr lvl="0"/>
            <a:endParaRPr lang="en-US" noProof="0"/>
          </a:p>
        </p:txBody>
      </p:sp>
    </p:spTree>
    <p:extLst>
      <p:ext uri="{BB962C8B-B14F-4D97-AF65-F5344CB8AC3E}">
        <p14:creationId xmlns:p14="http://schemas.microsoft.com/office/powerpoint/2010/main" val="3653937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259" y="2130436"/>
            <a:ext cx="10363482"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519" y="3886200"/>
            <a:ext cx="8534965"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992891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FE6C60-BD51-4C06-972B-D598C068A30B}"/>
              </a:ext>
            </a:extLst>
          </p:cNvPr>
          <p:cNvSpPr/>
          <p:nvPr userDrawn="1"/>
        </p:nvSpPr>
        <p:spPr>
          <a:xfrm>
            <a:off x="0" y="0"/>
            <a:ext cx="6096000" cy="6858000"/>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a:extLst>
              <a:ext uri="{FF2B5EF4-FFF2-40B4-BE49-F238E27FC236}">
                <a16:creationId xmlns:a16="http://schemas.microsoft.com/office/drawing/2014/main" id="{E8702E8D-AEBF-49D4-9D69-00802EFEB718}"/>
              </a:ext>
            </a:extLst>
          </p:cNvPr>
          <p:cNvSpPr>
            <a:spLocks noGrp="1"/>
          </p:cNvSpPr>
          <p:nvPr>
            <p:ph type="body" sz="quarter" idx="12"/>
          </p:nvPr>
        </p:nvSpPr>
        <p:spPr>
          <a:xfrm>
            <a:off x="6350000" y="2141538"/>
            <a:ext cx="5537200" cy="3141662"/>
          </a:xfrm>
        </p:spPr>
        <p:txBody>
          <a:bodyPr>
            <a:normAutofit/>
          </a:bodyPr>
          <a:lstStyle>
            <a:lvl1pPr marL="0" indent="0">
              <a:buNone/>
              <a:defRPr sz="2200"/>
            </a:lvl1pPr>
            <a:lvl2pPr marL="228600" indent="-169863">
              <a:lnSpc>
                <a:spcPct val="100000"/>
              </a:lnSpc>
              <a:spcBef>
                <a:spcPts val="1200"/>
              </a:spcBef>
              <a:spcAft>
                <a:spcPts val="1200"/>
              </a:spcAft>
              <a:defRPr sz="1800"/>
            </a:lvl2pPr>
            <a:lvl3pPr>
              <a:defRPr sz="1800"/>
            </a:lvl3pPr>
            <a:lvl4pPr>
              <a:defRPr sz="1600"/>
            </a:lvl4pPr>
            <a:lvl5pPr>
              <a:defRPr sz="1600"/>
            </a:lvl5pPr>
          </a:lstStyle>
          <a:p>
            <a:pPr lvl="0"/>
            <a:r>
              <a:rPr lang="en-US" dirty="0"/>
              <a:t>Click to edit Master text styles</a:t>
            </a:r>
          </a:p>
          <a:p>
            <a:pPr lvl="1"/>
            <a:r>
              <a:rPr lang="en-US" dirty="0"/>
              <a:t>Second level</a:t>
            </a:r>
          </a:p>
        </p:txBody>
      </p:sp>
      <p:sp>
        <p:nvSpPr>
          <p:cNvPr id="21" name="Text Placeholder 11">
            <a:extLst>
              <a:ext uri="{FF2B5EF4-FFF2-40B4-BE49-F238E27FC236}">
                <a16:creationId xmlns:a16="http://schemas.microsoft.com/office/drawing/2014/main" id="{573E487D-389A-425E-93B1-6E466DB120CE}"/>
              </a:ext>
            </a:extLst>
          </p:cNvPr>
          <p:cNvSpPr>
            <a:spLocks noGrp="1"/>
          </p:cNvSpPr>
          <p:nvPr>
            <p:ph type="body" sz="quarter" idx="14" hasCustomPrompt="1"/>
          </p:nvPr>
        </p:nvSpPr>
        <p:spPr>
          <a:xfrm>
            <a:off x="558800" y="2141538"/>
            <a:ext cx="4978400" cy="1135062"/>
          </a:xfrm>
          <a:ln w="25400">
            <a:gradFill flip="none" rotWithShape="1">
              <a:gsLst>
                <a:gs pos="100000">
                  <a:schemeClr val="accent1">
                    <a:lumMod val="5000"/>
                    <a:lumOff val="95000"/>
                  </a:schemeClr>
                </a:gs>
                <a:gs pos="97000">
                  <a:schemeClr val="bg1">
                    <a:alpha val="0"/>
                  </a:schemeClr>
                </a:gs>
              </a:gsLst>
              <a:lin ang="5400000" scaled="1"/>
              <a:tileRect/>
            </a:gradFill>
          </a:ln>
        </p:spPr>
        <p:txBody>
          <a:bodyPr anchor="b">
            <a:noAutofit/>
          </a:bodyPr>
          <a:lstStyle>
            <a:lvl1pPr marL="0" indent="0">
              <a:buNone/>
              <a:defRPr sz="4400" b="1" cap="all" baseline="0">
                <a:solidFill>
                  <a:schemeClr val="bg1"/>
                </a:solidFill>
                <a:latin typeface="+mj-lt"/>
              </a:defRPr>
            </a:lvl1pPr>
            <a:lvl2pPr marL="0" indent="0">
              <a:buNone/>
              <a:defRPr sz="2000">
                <a:solidFill>
                  <a:schemeClr val="bg1"/>
                </a:solidFill>
              </a:defRPr>
            </a:lvl2pPr>
            <a:lvl3pPr>
              <a:defRPr sz="1800"/>
            </a:lvl3pPr>
            <a:lvl4pPr>
              <a:defRPr sz="1600"/>
            </a:lvl4pPr>
            <a:lvl5pPr>
              <a:defRPr sz="1600"/>
            </a:lvl5pPr>
          </a:lstStyle>
          <a:p>
            <a:pPr lvl="0"/>
            <a:r>
              <a:rPr lang="en-US" dirty="0"/>
              <a:t>Title</a:t>
            </a:r>
          </a:p>
        </p:txBody>
      </p:sp>
      <p:sp>
        <p:nvSpPr>
          <p:cNvPr id="22" name="Subtitle 2">
            <a:extLst>
              <a:ext uri="{FF2B5EF4-FFF2-40B4-BE49-F238E27FC236}">
                <a16:creationId xmlns:a16="http://schemas.microsoft.com/office/drawing/2014/main" id="{08ACE488-B9EE-4F80-9093-0D25C49D3C1D}"/>
              </a:ext>
            </a:extLst>
          </p:cNvPr>
          <p:cNvSpPr>
            <a:spLocks noGrp="1"/>
          </p:cNvSpPr>
          <p:nvPr>
            <p:ph type="subTitle" idx="1"/>
          </p:nvPr>
        </p:nvSpPr>
        <p:spPr>
          <a:xfrm>
            <a:off x="554567" y="3383632"/>
            <a:ext cx="4986867" cy="1975764"/>
          </a:xfrm>
        </p:spPr>
        <p:txBody>
          <a:bodyPr>
            <a:normAutofit/>
          </a:bodyPr>
          <a:lstStyle>
            <a:lvl1pPr marL="0" indent="0" algn="l">
              <a:buNone/>
              <a:defRPr sz="22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Slide Number Placeholder 5">
            <a:extLst>
              <a:ext uri="{FF2B5EF4-FFF2-40B4-BE49-F238E27FC236}">
                <a16:creationId xmlns:a16="http://schemas.microsoft.com/office/drawing/2014/main" id="{A5D6F820-5DA9-442B-93E8-9740D3002517}"/>
              </a:ext>
            </a:extLst>
          </p:cNvPr>
          <p:cNvSpPr>
            <a:spLocks noGrp="1"/>
          </p:cNvSpPr>
          <p:nvPr>
            <p:ph type="sldNum" sz="quarter" idx="15"/>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N°›</a:t>
            </a:fld>
            <a:endParaRPr lang="en-US" dirty="0"/>
          </a:p>
        </p:txBody>
      </p:sp>
      <p:sp>
        <p:nvSpPr>
          <p:cNvPr id="6" name="TextBox 5" hidden="1">
            <a:extLst>
              <a:ext uri="{FF2B5EF4-FFF2-40B4-BE49-F238E27FC236}">
                <a16:creationId xmlns:a16="http://schemas.microsoft.com/office/drawing/2014/main" id="{39D2C925-BE4C-4057-86A9-05FBB940D62D}"/>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50000"/>
                  </a:schemeClr>
                </a:solidFill>
              </a:rPr>
              <a:t>© 2019 Rotary International. Internal Use Only. Not For Distribution. Private and Confidential.</a:t>
            </a:r>
          </a:p>
        </p:txBody>
      </p:sp>
    </p:spTree>
    <p:extLst>
      <p:ext uri="{BB962C8B-B14F-4D97-AF65-F5344CB8AC3E}">
        <p14:creationId xmlns:p14="http://schemas.microsoft.com/office/powerpoint/2010/main" val="1747226894"/>
      </p:ext>
    </p:extLst>
  </p:cSld>
  <p:clrMapOvr>
    <a:masterClrMapping/>
  </p:clrMapOvr>
  <p:extLst>
    <p:ext uri="{DCECCB84-F9BA-43D5-87BE-67443E8EF086}">
      <p15:sldGuideLst xmlns:p15="http://schemas.microsoft.com/office/powerpoint/2012/main">
        <p15:guide id="1" pos="38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smtClean="0"/>
              <a:pPr>
                <a:defRPr/>
              </a:pPr>
              <a:t>‹N°›</a:t>
            </a:fld>
            <a:endParaRPr lang="en-US" dirty="0"/>
          </a:p>
        </p:txBody>
      </p:sp>
    </p:spTree>
    <p:extLst>
      <p:ext uri="{BB962C8B-B14F-4D97-AF65-F5344CB8AC3E}">
        <p14:creationId xmlns:p14="http://schemas.microsoft.com/office/powerpoint/2010/main" val="24456091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4"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4" y="1600206"/>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03D5B703-056F-479E-8893-F9987D298CDC}" type="slidenum">
              <a:rPr lang="en-GB" smtClean="0"/>
              <a:pPr/>
              <a:t>‹N°›</a:t>
            </a:fld>
            <a:endParaRPr lang="en-GB"/>
          </a:p>
        </p:txBody>
      </p:sp>
    </p:spTree>
    <p:extLst>
      <p:ext uri="{BB962C8B-B14F-4D97-AF65-F5344CB8AC3E}">
        <p14:creationId xmlns:p14="http://schemas.microsoft.com/office/powerpoint/2010/main" val="48827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2430587" y="6604000"/>
            <a:ext cx="9083432" cy="254000"/>
          </a:xfrm>
          <a:prstGeom prst="rect">
            <a:avLst/>
          </a:prstGeom>
        </p:spPr>
        <p:txBody>
          <a:bodyPr/>
          <a:lstStyle>
            <a:lvl1pPr defTabSz="914400">
              <a:defRPr/>
            </a:lvl1pPr>
          </a:lstStyle>
          <a:p>
            <a:pPr>
              <a:defRPr/>
            </a:pPr>
            <a:endParaRPr lang="en-US" dirty="0">
              <a:solidFill>
                <a:prstClr val="black"/>
              </a:solidFill>
            </a:endParaRPr>
          </a:p>
        </p:txBody>
      </p:sp>
      <p:sp>
        <p:nvSpPr>
          <p:cNvPr id="3" name="Slide Number Placeholder 5"/>
          <p:cNvSpPr>
            <a:spLocks noGrp="1"/>
          </p:cNvSpPr>
          <p:nvPr>
            <p:ph type="sldNum" sz="quarter" idx="11"/>
          </p:nvPr>
        </p:nvSpPr>
        <p:spPr/>
        <p:txBody>
          <a:bodyPr/>
          <a:lstStyle>
            <a:lvl1pPr defTabSz="914400">
              <a:defRPr/>
            </a:lvl1pPr>
          </a:lstStyle>
          <a:p>
            <a:pPr>
              <a:defRPr/>
            </a:pPr>
            <a:fld id="{9B8F7D12-62DE-453E-A7D6-231232E39030}" type="slidenum">
              <a:rPr lang="en-US"/>
              <a:pPr>
                <a:defRPr/>
              </a:pPr>
              <a:t>‹N°›</a:t>
            </a:fld>
            <a:endParaRPr lang="en-US" dirty="0"/>
          </a:p>
        </p:txBody>
      </p:sp>
    </p:spTree>
    <p:extLst>
      <p:ext uri="{BB962C8B-B14F-4D97-AF65-F5344CB8AC3E}">
        <p14:creationId xmlns:p14="http://schemas.microsoft.com/office/powerpoint/2010/main" val="2731251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2429937" y="6604000"/>
            <a:ext cx="9084733" cy="254000"/>
          </a:xfrm>
          <a:prstGeom prst="rect">
            <a:avLst/>
          </a:prstGeom>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smtClean="0"/>
              <a:pPr>
                <a:defRPr/>
              </a:pPr>
              <a:t>‹N°›</a:t>
            </a:fld>
            <a:endParaRPr lang="en-US" dirty="0"/>
          </a:p>
        </p:txBody>
      </p:sp>
    </p:spTree>
    <p:extLst>
      <p:ext uri="{BB962C8B-B14F-4D97-AF65-F5344CB8AC3E}">
        <p14:creationId xmlns:p14="http://schemas.microsoft.com/office/powerpoint/2010/main" val="39424157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 y="-26988"/>
            <a:ext cx="12188238" cy="1270001"/>
          </a:xfrm>
        </p:spPr>
        <p:txBody>
          <a:bodyPr/>
          <a:lstStyle/>
          <a:p>
            <a:r>
              <a:rPr lang="en-US"/>
              <a:t>Click to edit Master title style</a:t>
            </a:r>
          </a:p>
        </p:txBody>
      </p:sp>
      <p:sp>
        <p:nvSpPr>
          <p:cNvPr id="3" name="Text Placeholder 2"/>
          <p:cNvSpPr>
            <a:spLocks noGrp="1"/>
          </p:cNvSpPr>
          <p:nvPr>
            <p:ph type="body" sz="half" idx="1"/>
          </p:nvPr>
        </p:nvSpPr>
        <p:spPr>
          <a:xfrm>
            <a:off x="549310" y="1557341"/>
            <a:ext cx="5506247" cy="4795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236149" y="1557341"/>
            <a:ext cx="5508127" cy="4795837"/>
          </a:xfrm>
        </p:spPr>
        <p:txBody>
          <a:bodyPr/>
          <a:lstStyle/>
          <a:p>
            <a:pPr lvl="0"/>
            <a:endParaRPr lang="en-US" noProof="0"/>
          </a:p>
        </p:txBody>
      </p:sp>
    </p:spTree>
    <p:extLst>
      <p:ext uri="{BB962C8B-B14F-4D97-AF65-F5344CB8AC3E}">
        <p14:creationId xmlns:p14="http://schemas.microsoft.com/office/powerpoint/2010/main" val="25444462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906622E4-727D-4EA3-9875-789F26BCF41D}"/>
              </a:ext>
            </a:extLst>
          </p:cNvPr>
          <p:cNvSpPr>
            <a:spLocks noGrp="1" noChangeArrowheads="1"/>
          </p:cNvSpPr>
          <p:nvPr>
            <p:ph type="dt" sz="half" idx="10"/>
          </p:nvPr>
        </p:nvSpPr>
        <p:spPr>
          <a:ln/>
        </p:spPr>
        <p:txBody>
          <a:bodyPr/>
          <a:lstStyle>
            <a:lvl1pPr>
              <a:defRPr/>
            </a:lvl1pPr>
          </a:lstStyle>
          <a:p>
            <a:pPr>
              <a:defRPr/>
            </a:pPr>
            <a:endParaRPr lang="de-DE"/>
          </a:p>
        </p:txBody>
      </p:sp>
      <p:sp>
        <p:nvSpPr>
          <p:cNvPr id="5" name="Rectangle 5">
            <a:extLst>
              <a:ext uri="{FF2B5EF4-FFF2-40B4-BE49-F238E27FC236}">
                <a16:creationId xmlns:a16="http://schemas.microsoft.com/office/drawing/2014/main" id="{E3F14F47-664A-4D80-961E-C0ED45CF64C8}"/>
              </a:ext>
            </a:extLst>
          </p:cNvPr>
          <p:cNvSpPr>
            <a:spLocks noGrp="1" noChangeArrowheads="1"/>
          </p:cNvSpPr>
          <p:nvPr>
            <p:ph type="ftr" sz="quarter" idx="11"/>
          </p:nvPr>
        </p:nvSpPr>
        <p:spPr>
          <a:ln/>
        </p:spPr>
        <p:txBody>
          <a:bodyPr/>
          <a:lstStyle>
            <a:lvl1pPr>
              <a:defRPr/>
            </a:lvl1pPr>
          </a:lstStyle>
          <a:p>
            <a:pPr>
              <a:defRPr/>
            </a:pPr>
            <a:endParaRPr lang="de-DE"/>
          </a:p>
        </p:txBody>
      </p:sp>
      <p:sp>
        <p:nvSpPr>
          <p:cNvPr id="6" name="Rectangle 6">
            <a:extLst>
              <a:ext uri="{FF2B5EF4-FFF2-40B4-BE49-F238E27FC236}">
                <a16:creationId xmlns:a16="http://schemas.microsoft.com/office/drawing/2014/main" id="{6A3D583F-4D6F-43E5-BF78-EDEC163F026F}"/>
              </a:ext>
            </a:extLst>
          </p:cNvPr>
          <p:cNvSpPr>
            <a:spLocks noGrp="1" noChangeArrowheads="1"/>
          </p:cNvSpPr>
          <p:nvPr>
            <p:ph type="sldNum" sz="quarter" idx="12"/>
          </p:nvPr>
        </p:nvSpPr>
        <p:spPr>
          <a:ln/>
        </p:spPr>
        <p:txBody>
          <a:bodyPr/>
          <a:lstStyle>
            <a:lvl1pPr>
              <a:defRPr/>
            </a:lvl1pPr>
          </a:lstStyle>
          <a:p>
            <a:pPr>
              <a:defRPr/>
            </a:pPr>
            <a:fld id="{03B7FF99-DAAC-43E1-95F0-B522E41907CB}" type="slidenum">
              <a:rPr lang="en-GB" altLang="en-US"/>
              <a:pPr>
                <a:defRPr/>
              </a:pPr>
              <a:t>‹N°›</a:t>
            </a:fld>
            <a:endParaRPr lang="en-GB" altLang="en-US"/>
          </a:p>
        </p:txBody>
      </p:sp>
    </p:spTree>
    <p:extLst>
      <p:ext uri="{BB962C8B-B14F-4D97-AF65-F5344CB8AC3E}">
        <p14:creationId xmlns:p14="http://schemas.microsoft.com/office/powerpoint/2010/main" val="976941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5981378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430949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0163474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169591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8983885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4952427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6942683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F7FC3C43-D7BF-47C7-B7D6-9BA463F61230}"/>
              </a:ext>
            </a:extLst>
          </p:cNvPr>
          <p:cNvSpPr>
            <a:spLocks noGrp="1" noChangeArrowheads="1"/>
          </p:cNvSpPr>
          <p:nvPr>
            <p:ph type="dt" sz="half" idx="10"/>
          </p:nvPr>
        </p:nvSpPr>
        <p:spPr>
          <a:ln/>
        </p:spPr>
        <p:txBody>
          <a:bodyPr/>
          <a:lstStyle>
            <a:lvl1pPr>
              <a:defRPr/>
            </a:lvl1pPr>
          </a:lstStyle>
          <a:p>
            <a:pPr>
              <a:defRPr/>
            </a:pPr>
            <a:endParaRPr lang="de-DE"/>
          </a:p>
        </p:txBody>
      </p:sp>
      <p:sp>
        <p:nvSpPr>
          <p:cNvPr id="3" name="Rectangle 5">
            <a:extLst>
              <a:ext uri="{FF2B5EF4-FFF2-40B4-BE49-F238E27FC236}">
                <a16:creationId xmlns:a16="http://schemas.microsoft.com/office/drawing/2014/main" id="{10E7AED6-BAFA-4026-A315-E5C29A5ACB4E}"/>
              </a:ext>
            </a:extLst>
          </p:cNvPr>
          <p:cNvSpPr>
            <a:spLocks noGrp="1" noChangeArrowheads="1"/>
          </p:cNvSpPr>
          <p:nvPr>
            <p:ph type="ftr" sz="quarter" idx="11"/>
          </p:nvPr>
        </p:nvSpPr>
        <p:spPr>
          <a:ln/>
        </p:spPr>
        <p:txBody>
          <a:bodyPr/>
          <a:lstStyle>
            <a:lvl1pPr>
              <a:defRPr/>
            </a:lvl1pPr>
          </a:lstStyle>
          <a:p>
            <a:pPr>
              <a:defRPr/>
            </a:pPr>
            <a:endParaRPr lang="de-DE"/>
          </a:p>
        </p:txBody>
      </p:sp>
      <p:sp>
        <p:nvSpPr>
          <p:cNvPr id="4" name="Rectangle 6">
            <a:extLst>
              <a:ext uri="{FF2B5EF4-FFF2-40B4-BE49-F238E27FC236}">
                <a16:creationId xmlns:a16="http://schemas.microsoft.com/office/drawing/2014/main" id="{E42BD90F-B581-470D-B09D-5B9486BF79BF}"/>
              </a:ext>
            </a:extLst>
          </p:cNvPr>
          <p:cNvSpPr>
            <a:spLocks noGrp="1" noChangeArrowheads="1"/>
          </p:cNvSpPr>
          <p:nvPr>
            <p:ph type="sldNum" sz="quarter" idx="12"/>
          </p:nvPr>
        </p:nvSpPr>
        <p:spPr>
          <a:ln/>
        </p:spPr>
        <p:txBody>
          <a:bodyPr/>
          <a:lstStyle>
            <a:lvl1pPr>
              <a:defRPr/>
            </a:lvl1pPr>
          </a:lstStyle>
          <a:p>
            <a:pPr>
              <a:defRPr/>
            </a:pPr>
            <a:fld id="{258D16C1-B024-496D-B2D7-9BFD4F0D85B2}" type="slidenum">
              <a:rPr lang="en-GB" altLang="en-US"/>
              <a:pPr>
                <a:defRPr/>
              </a:pPr>
              <a:t>‹N°›</a:t>
            </a:fld>
            <a:endParaRPr lang="en-GB" altLang="en-US"/>
          </a:p>
        </p:txBody>
      </p:sp>
    </p:spTree>
    <p:extLst>
      <p:ext uri="{BB962C8B-B14F-4D97-AF65-F5344CB8AC3E}">
        <p14:creationId xmlns:p14="http://schemas.microsoft.com/office/powerpoint/2010/main" val="19094557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3530495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38039313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28895942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38446861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1D0F0E6-22D0-49A2-8945-52AEAD9041CD}"/>
              </a:ext>
            </a:extLst>
          </p:cNvPr>
          <p:cNvSpPr>
            <a:spLocks noGrp="1"/>
          </p:cNvSpPr>
          <p:nvPr>
            <p:ph type="pic" sz="quarter" idx="13"/>
          </p:nvPr>
        </p:nvSpPr>
        <p:spPr>
          <a:xfrm>
            <a:off x="0" y="0"/>
            <a:ext cx="12192000" cy="6858000"/>
          </a:xfrm>
          <a:custGeom>
            <a:avLst/>
            <a:gdLst>
              <a:gd name="connsiteX0" fmla="*/ 6602777 w 12192000"/>
              <a:gd name="connsiteY0" fmla="*/ 6116155 h 6858000"/>
              <a:gd name="connsiteX1" fmla="*/ 6612980 w 12192000"/>
              <a:gd name="connsiteY1" fmla="*/ 6116155 h 6858000"/>
              <a:gd name="connsiteX2" fmla="*/ 6617061 w 12192000"/>
              <a:gd name="connsiteY2" fmla="*/ 6124493 h 6858000"/>
              <a:gd name="connsiteX3" fmla="*/ 6623183 w 12192000"/>
              <a:gd name="connsiteY3" fmla="*/ 6226637 h 6858000"/>
              <a:gd name="connsiteX4" fmla="*/ 6621142 w 12192000"/>
              <a:gd name="connsiteY4" fmla="*/ 6237059 h 6858000"/>
              <a:gd name="connsiteX5" fmla="*/ 6615021 w 12192000"/>
              <a:gd name="connsiteY5" fmla="*/ 6237059 h 6858000"/>
              <a:gd name="connsiteX6" fmla="*/ 6508908 w 12192000"/>
              <a:gd name="connsiteY6" fmla="*/ 6174523 h 6858000"/>
              <a:gd name="connsiteX7" fmla="*/ 6504827 w 12192000"/>
              <a:gd name="connsiteY7" fmla="*/ 6168270 h 6858000"/>
              <a:gd name="connsiteX8" fmla="*/ 6504827 w 12192000"/>
              <a:gd name="connsiteY8" fmla="*/ 6166184 h 6858000"/>
              <a:gd name="connsiteX9" fmla="*/ 6510948 w 12192000"/>
              <a:gd name="connsiteY9" fmla="*/ 6162015 h 6858000"/>
              <a:gd name="connsiteX10" fmla="*/ 6602777 w 12192000"/>
              <a:gd name="connsiteY10" fmla="*/ 6116155 h 6858000"/>
              <a:gd name="connsiteX11" fmla="*/ 6685511 w 12192000"/>
              <a:gd name="connsiteY11" fmla="*/ 6114071 h 6858000"/>
              <a:gd name="connsiteX12" fmla="*/ 6695813 w 12192000"/>
              <a:gd name="connsiteY12" fmla="*/ 6114071 h 6858000"/>
              <a:gd name="connsiteX13" fmla="*/ 6786472 w 12192000"/>
              <a:gd name="connsiteY13" fmla="*/ 6159837 h 6858000"/>
              <a:gd name="connsiteX14" fmla="*/ 6794714 w 12192000"/>
              <a:gd name="connsiteY14" fmla="*/ 6166078 h 6858000"/>
              <a:gd name="connsiteX15" fmla="*/ 6790593 w 12192000"/>
              <a:gd name="connsiteY15" fmla="*/ 6172318 h 6858000"/>
              <a:gd name="connsiteX16" fmla="*/ 6683451 w 12192000"/>
              <a:gd name="connsiteY16" fmla="*/ 6234726 h 6858000"/>
              <a:gd name="connsiteX17" fmla="*/ 6675208 w 12192000"/>
              <a:gd name="connsiteY17" fmla="*/ 6234726 h 6858000"/>
              <a:gd name="connsiteX18" fmla="*/ 6673148 w 12192000"/>
              <a:gd name="connsiteY18" fmla="*/ 6226405 h 6858000"/>
              <a:gd name="connsiteX19" fmla="*/ 6681390 w 12192000"/>
              <a:gd name="connsiteY19" fmla="*/ 6122392 h 6858000"/>
              <a:gd name="connsiteX20" fmla="*/ 6685511 w 12192000"/>
              <a:gd name="connsiteY20" fmla="*/ 6114071 h 6858000"/>
              <a:gd name="connsiteX21" fmla="*/ 5867776 w 12192000"/>
              <a:gd name="connsiteY21" fmla="*/ 6074328 h 6858000"/>
              <a:gd name="connsiteX22" fmla="*/ 5867776 w 12192000"/>
              <a:gd name="connsiteY22" fmla="*/ 6117531 h 6858000"/>
              <a:gd name="connsiteX23" fmla="*/ 5819888 w 12192000"/>
              <a:gd name="connsiteY23" fmla="*/ 6125760 h 6858000"/>
              <a:gd name="connsiteX24" fmla="*/ 5801149 w 12192000"/>
              <a:gd name="connsiteY24" fmla="*/ 6101073 h 6858000"/>
              <a:gd name="connsiteX25" fmla="*/ 5826134 w 12192000"/>
              <a:gd name="connsiteY25" fmla="*/ 6076386 h 6858000"/>
              <a:gd name="connsiteX26" fmla="*/ 5518276 w 12192000"/>
              <a:gd name="connsiteY26" fmla="*/ 6004194 h 6858000"/>
              <a:gd name="connsiteX27" fmla="*/ 5559186 w 12192000"/>
              <a:gd name="connsiteY27" fmla="*/ 6064393 h 6858000"/>
              <a:gd name="connsiteX28" fmla="*/ 5518276 w 12192000"/>
              <a:gd name="connsiteY28" fmla="*/ 6124591 h 6858000"/>
              <a:gd name="connsiteX29" fmla="*/ 5477363 w 12192000"/>
              <a:gd name="connsiteY29" fmla="*/ 6064393 h 6858000"/>
              <a:gd name="connsiteX30" fmla="*/ 5518276 w 12192000"/>
              <a:gd name="connsiteY30" fmla="*/ 6004194 h 6858000"/>
              <a:gd name="connsiteX31" fmla="*/ 6672498 w 12192000"/>
              <a:gd name="connsiteY31" fmla="*/ 5995882 h 6858000"/>
              <a:gd name="connsiteX32" fmla="*/ 6681491 w 12192000"/>
              <a:gd name="connsiteY32" fmla="*/ 5996921 h 6858000"/>
              <a:gd name="connsiteX33" fmla="*/ 6708215 w 12192000"/>
              <a:gd name="connsiteY33" fmla="*/ 6048872 h 6858000"/>
              <a:gd name="connsiteX34" fmla="*/ 6648601 w 12192000"/>
              <a:gd name="connsiteY34" fmla="*/ 6107057 h 6858000"/>
              <a:gd name="connsiteX35" fmla="*/ 6588987 w 12192000"/>
              <a:gd name="connsiteY35" fmla="*/ 6048872 h 6858000"/>
              <a:gd name="connsiteX36" fmla="*/ 6615711 w 12192000"/>
              <a:gd name="connsiteY36" fmla="*/ 5999000 h 6858000"/>
              <a:gd name="connsiteX37" fmla="*/ 6632156 w 12192000"/>
              <a:gd name="connsiteY37" fmla="*/ 6001077 h 6858000"/>
              <a:gd name="connsiteX38" fmla="*/ 6630100 w 12192000"/>
              <a:gd name="connsiteY38" fmla="*/ 6017702 h 6858000"/>
              <a:gd name="connsiteX39" fmla="*/ 6613655 w 12192000"/>
              <a:gd name="connsiteY39" fmla="*/ 6048872 h 6858000"/>
              <a:gd name="connsiteX40" fmla="*/ 6648601 w 12192000"/>
              <a:gd name="connsiteY40" fmla="*/ 6084199 h 6858000"/>
              <a:gd name="connsiteX41" fmla="*/ 6683547 w 12192000"/>
              <a:gd name="connsiteY41" fmla="*/ 6048872 h 6858000"/>
              <a:gd name="connsiteX42" fmla="*/ 6667102 w 12192000"/>
              <a:gd name="connsiteY42" fmla="*/ 6017702 h 6858000"/>
              <a:gd name="connsiteX43" fmla="*/ 6665047 w 12192000"/>
              <a:gd name="connsiteY43" fmla="*/ 6001077 h 6858000"/>
              <a:gd name="connsiteX44" fmla="*/ 6672498 w 12192000"/>
              <a:gd name="connsiteY44" fmla="*/ 5995882 h 6858000"/>
              <a:gd name="connsiteX45" fmla="*/ 6821432 w 12192000"/>
              <a:gd name="connsiteY45" fmla="*/ 5980816 h 6858000"/>
              <a:gd name="connsiteX46" fmla="*/ 6825565 w 12192000"/>
              <a:gd name="connsiteY46" fmla="*/ 5987045 h 6858000"/>
              <a:gd name="connsiteX47" fmla="*/ 6825565 w 12192000"/>
              <a:gd name="connsiteY47" fmla="*/ 6111612 h 6858000"/>
              <a:gd name="connsiteX48" fmla="*/ 6821432 w 12192000"/>
              <a:gd name="connsiteY48" fmla="*/ 6117840 h 6858000"/>
              <a:gd name="connsiteX49" fmla="*/ 6813166 w 12192000"/>
              <a:gd name="connsiteY49" fmla="*/ 6115764 h 6858000"/>
              <a:gd name="connsiteX50" fmla="*/ 6728441 w 12192000"/>
              <a:gd name="connsiteY50" fmla="*/ 6057632 h 6858000"/>
              <a:gd name="connsiteX51" fmla="*/ 6722242 w 12192000"/>
              <a:gd name="connsiteY51" fmla="*/ 6049328 h 6858000"/>
              <a:gd name="connsiteX52" fmla="*/ 6728441 w 12192000"/>
              <a:gd name="connsiteY52" fmla="*/ 6041024 h 6858000"/>
              <a:gd name="connsiteX53" fmla="*/ 6813166 w 12192000"/>
              <a:gd name="connsiteY53" fmla="*/ 5982893 h 6858000"/>
              <a:gd name="connsiteX54" fmla="*/ 6821432 w 12192000"/>
              <a:gd name="connsiteY54" fmla="*/ 5980816 h 6858000"/>
              <a:gd name="connsiteX55" fmla="*/ 6475604 w 12192000"/>
              <a:gd name="connsiteY55" fmla="*/ 5980816 h 6858000"/>
              <a:gd name="connsiteX56" fmla="*/ 6483787 w 12192000"/>
              <a:gd name="connsiteY56" fmla="*/ 5984968 h 6858000"/>
              <a:gd name="connsiteX57" fmla="*/ 6567656 w 12192000"/>
              <a:gd name="connsiteY57" fmla="*/ 6041024 h 6858000"/>
              <a:gd name="connsiteX58" fmla="*/ 6573792 w 12192000"/>
              <a:gd name="connsiteY58" fmla="*/ 6049328 h 6858000"/>
              <a:gd name="connsiteX59" fmla="*/ 6567656 w 12192000"/>
              <a:gd name="connsiteY59" fmla="*/ 6057632 h 6858000"/>
              <a:gd name="connsiteX60" fmla="*/ 6483787 w 12192000"/>
              <a:gd name="connsiteY60" fmla="*/ 6115764 h 6858000"/>
              <a:gd name="connsiteX61" fmla="*/ 6475604 w 12192000"/>
              <a:gd name="connsiteY61" fmla="*/ 6117840 h 6858000"/>
              <a:gd name="connsiteX62" fmla="*/ 6471513 w 12192000"/>
              <a:gd name="connsiteY62" fmla="*/ 6111612 h 6858000"/>
              <a:gd name="connsiteX63" fmla="*/ 6471513 w 12192000"/>
              <a:gd name="connsiteY63" fmla="*/ 5987045 h 6858000"/>
              <a:gd name="connsiteX64" fmla="*/ 6475604 w 12192000"/>
              <a:gd name="connsiteY64" fmla="*/ 5980816 h 6858000"/>
              <a:gd name="connsiteX65" fmla="*/ 6087559 w 12192000"/>
              <a:gd name="connsiteY65" fmla="*/ 5970296 h 6858000"/>
              <a:gd name="connsiteX66" fmla="*/ 6081400 w 12192000"/>
              <a:gd name="connsiteY66" fmla="*/ 5972374 h 6858000"/>
              <a:gd name="connsiteX67" fmla="*/ 6079347 w 12192000"/>
              <a:gd name="connsiteY67" fmla="*/ 5978604 h 6858000"/>
              <a:gd name="connsiteX68" fmla="*/ 6120408 w 12192000"/>
              <a:gd name="connsiteY68" fmla="*/ 6136455 h 6858000"/>
              <a:gd name="connsiteX69" fmla="*/ 6145045 w 12192000"/>
              <a:gd name="connsiteY69" fmla="*/ 6157224 h 6858000"/>
              <a:gd name="connsiteX70" fmla="*/ 6153257 w 12192000"/>
              <a:gd name="connsiteY70" fmla="*/ 6157224 h 6858000"/>
              <a:gd name="connsiteX71" fmla="*/ 6149151 w 12192000"/>
              <a:gd name="connsiteY71" fmla="*/ 6165532 h 6858000"/>
              <a:gd name="connsiteX72" fmla="*/ 6149151 w 12192000"/>
              <a:gd name="connsiteY72" fmla="*/ 6167609 h 6858000"/>
              <a:gd name="connsiteX73" fmla="*/ 6124515 w 12192000"/>
              <a:gd name="connsiteY73" fmla="*/ 6186302 h 6858000"/>
              <a:gd name="connsiteX74" fmla="*/ 6089612 w 12192000"/>
              <a:gd name="connsiteY74" fmla="*/ 6184225 h 6858000"/>
              <a:gd name="connsiteX75" fmla="*/ 6083453 w 12192000"/>
              <a:gd name="connsiteY75" fmla="*/ 6186302 h 6858000"/>
              <a:gd name="connsiteX76" fmla="*/ 6081400 w 12192000"/>
              <a:gd name="connsiteY76" fmla="*/ 6190456 h 6858000"/>
              <a:gd name="connsiteX77" fmla="*/ 6081400 w 12192000"/>
              <a:gd name="connsiteY77" fmla="*/ 6209149 h 6858000"/>
              <a:gd name="connsiteX78" fmla="*/ 6087559 w 12192000"/>
              <a:gd name="connsiteY78" fmla="*/ 6215380 h 6858000"/>
              <a:gd name="connsiteX79" fmla="*/ 6134780 w 12192000"/>
              <a:gd name="connsiteY79" fmla="*/ 6221610 h 6858000"/>
              <a:gd name="connsiteX80" fmla="*/ 6136833 w 12192000"/>
              <a:gd name="connsiteY80" fmla="*/ 6221610 h 6858000"/>
              <a:gd name="connsiteX81" fmla="*/ 6190213 w 12192000"/>
              <a:gd name="connsiteY81" fmla="*/ 6169686 h 6858000"/>
              <a:gd name="connsiteX82" fmla="*/ 6223062 w 12192000"/>
              <a:gd name="connsiteY82" fmla="*/ 6040914 h 6858000"/>
              <a:gd name="connsiteX83" fmla="*/ 6235380 w 12192000"/>
              <a:gd name="connsiteY83" fmla="*/ 5999374 h 6858000"/>
              <a:gd name="connsiteX84" fmla="*/ 6239487 w 12192000"/>
              <a:gd name="connsiteY84" fmla="*/ 5978604 h 6858000"/>
              <a:gd name="connsiteX85" fmla="*/ 6237434 w 12192000"/>
              <a:gd name="connsiteY85" fmla="*/ 5972374 h 6858000"/>
              <a:gd name="connsiteX86" fmla="*/ 6233327 w 12192000"/>
              <a:gd name="connsiteY86" fmla="*/ 5970296 h 6858000"/>
              <a:gd name="connsiteX87" fmla="*/ 6204584 w 12192000"/>
              <a:gd name="connsiteY87" fmla="*/ 5970296 h 6858000"/>
              <a:gd name="connsiteX88" fmla="*/ 6198425 w 12192000"/>
              <a:gd name="connsiteY88" fmla="*/ 5974451 h 6858000"/>
              <a:gd name="connsiteX89" fmla="*/ 6161469 w 12192000"/>
              <a:gd name="connsiteY89" fmla="*/ 6115685 h 6858000"/>
              <a:gd name="connsiteX90" fmla="*/ 6159417 w 12192000"/>
              <a:gd name="connsiteY90" fmla="*/ 6115685 h 6858000"/>
              <a:gd name="connsiteX91" fmla="*/ 6120408 w 12192000"/>
              <a:gd name="connsiteY91" fmla="*/ 5974451 h 6858000"/>
              <a:gd name="connsiteX92" fmla="*/ 6114249 w 12192000"/>
              <a:gd name="connsiteY92" fmla="*/ 5970296 h 6858000"/>
              <a:gd name="connsiteX93" fmla="*/ 6087559 w 12192000"/>
              <a:gd name="connsiteY93" fmla="*/ 5970296 h 6858000"/>
              <a:gd name="connsiteX94" fmla="*/ 6047787 w 12192000"/>
              <a:gd name="connsiteY94" fmla="*/ 5967959 h 6858000"/>
              <a:gd name="connsiteX95" fmla="*/ 5998692 w 12192000"/>
              <a:gd name="connsiteY95" fmla="*/ 5988768 h 6858000"/>
              <a:gd name="connsiteX96" fmla="*/ 5998692 w 12192000"/>
              <a:gd name="connsiteY96" fmla="*/ 5976283 h 6858000"/>
              <a:gd name="connsiteX97" fmla="*/ 5992556 w 12192000"/>
              <a:gd name="connsiteY97" fmla="*/ 5970040 h 6858000"/>
              <a:gd name="connsiteX98" fmla="*/ 5963918 w 12192000"/>
              <a:gd name="connsiteY98" fmla="*/ 5970040 h 6858000"/>
              <a:gd name="connsiteX99" fmla="*/ 5957781 w 12192000"/>
              <a:gd name="connsiteY99" fmla="*/ 5976283 h 6858000"/>
              <a:gd name="connsiteX100" fmla="*/ 5957781 w 12192000"/>
              <a:gd name="connsiteY100" fmla="*/ 6151078 h 6858000"/>
              <a:gd name="connsiteX101" fmla="*/ 5963918 w 12192000"/>
              <a:gd name="connsiteY101" fmla="*/ 6157321 h 6858000"/>
              <a:gd name="connsiteX102" fmla="*/ 5992556 w 12192000"/>
              <a:gd name="connsiteY102" fmla="*/ 6157321 h 6858000"/>
              <a:gd name="connsiteX103" fmla="*/ 5998692 w 12192000"/>
              <a:gd name="connsiteY103" fmla="*/ 6151078 h 6858000"/>
              <a:gd name="connsiteX104" fmla="*/ 5998692 w 12192000"/>
              <a:gd name="connsiteY104" fmla="*/ 6030386 h 6858000"/>
              <a:gd name="connsiteX105" fmla="*/ 6049832 w 12192000"/>
              <a:gd name="connsiteY105" fmla="*/ 6007496 h 6858000"/>
              <a:gd name="connsiteX106" fmla="*/ 6055969 w 12192000"/>
              <a:gd name="connsiteY106" fmla="*/ 6001253 h 6858000"/>
              <a:gd name="connsiteX107" fmla="*/ 6055969 w 12192000"/>
              <a:gd name="connsiteY107" fmla="*/ 5974202 h 6858000"/>
              <a:gd name="connsiteX108" fmla="*/ 6053923 w 12192000"/>
              <a:gd name="connsiteY108" fmla="*/ 5970040 h 6858000"/>
              <a:gd name="connsiteX109" fmla="*/ 6047787 w 12192000"/>
              <a:gd name="connsiteY109" fmla="*/ 5967959 h 6858000"/>
              <a:gd name="connsiteX110" fmla="*/ 5846879 w 12192000"/>
              <a:gd name="connsiteY110" fmla="*/ 5964452 h 6858000"/>
              <a:gd name="connsiteX111" fmla="*/ 5776523 w 12192000"/>
              <a:gd name="connsiteY111" fmla="*/ 5972770 h 6858000"/>
              <a:gd name="connsiteX112" fmla="*/ 5770315 w 12192000"/>
              <a:gd name="connsiteY112" fmla="*/ 5979008 h 6858000"/>
              <a:gd name="connsiteX113" fmla="*/ 5772384 w 12192000"/>
              <a:gd name="connsiteY113" fmla="*/ 6003961 h 6858000"/>
              <a:gd name="connsiteX114" fmla="*/ 5774454 w 12192000"/>
              <a:gd name="connsiteY114" fmla="*/ 6008120 h 6858000"/>
              <a:gd name="connsiteX115" fmla="*/ 5778592 w 12192000"/>
              <a:gd name="connsiteY115" fmla="*/ 6010199 h 6858000"/>
              <a:gd name="connsiteX116" fmla="*/ 5844809 w 12192000"/>
              <a:gd name="connsiteY116" fmla="*/ 6006040 h 6858000"/>
              <a:gd name="connsiteX117" fmla="*/ 5867571 w 12192000"/>
              <a:gd name="connsiteY117" fmla="*/ 6028914 h 6858000"/>
              <a:gd name="connsiteX118" fmla="*/ 5867571 w 12192000"/>
              <a:gd name="connsiteY118" fmla="*/ 6041390 h 6858000"/>
              <a:gd name="connsiteX119" fmla="*/ 5822047 w 12192000"/>
              <a:gd name="connsiteY119" fmla="*/ 6045549 h 6858000"/>
              <a:gd name="connsiteX120" fmla="*/ 5757900 w 12192000"/>
              <a:gd name="connsiteY120" fmla="*/ 6101693 h 6858000"/>
              <a:gd name="connsiteX121" fmla="*/ 5813770 w 12192000"/>
              <a:gd name="connsiteY121" fmla="*/ 6161996 h 6858000"/>
              <a:gd name="connsiteX122" fmla="*/ 5873779 w 12192000"/>
              <a:gd name="connsiteY122" fmla="*/ 6149520 h 6858000"/>
              <a:gd name="connsiteX123" fmla="*/ 5902750 w 12192000"/>
              <a:gd name="connsiteY123" fmla="*/ 6161996 h 6858000"/>
              <a:gd name="connsiteX124" fmla="*/ 5908957 w 12192000"/>
              <a:gd name="connsiteY124" fmla="*/ 6159917 h 6858000"/>
              <a:gd name="connsiteX125" fmla="*/ 5911026 w 12192000"/>
              <a:gd name="connsiteY125" fmla="*/ 6153679 h 6858000"/>
              <a:gd name="connsiteX126" fmla="*/ 5911026 w 12192000"/>
              <a:gd name="connsiteY126" fmla="*/ 6028914 h 6858000"/>
              <a:gd name="connsiteX127" fmla="*/ 5846879 w 12192000"/>
              <a:gd name="connsiteY127" fmla="*/ 5964452 h 6858000"/>
              <a:gd name="connsiteX128" fmla="*/ 5518274 w 12192000"/>
              <a:gd name="connsiteY128" fmla="*/ 5964452 h 6858000"/>
              <a:gd name="connsiteX129" fmla="*/ 5434114 w 12192000"/>
              <a:gd name="connsiteY129" fmla="*/ 6063224 h 6858000"/>
              <a:gd name="connsiteX130" fmla="*/ 5518274 w 12192000"/>
              <a:gd name="connsiteY130" fmla="*/ 6161996 h 6858000"/>
              <a:gd name="connsiteX131" fmla="*/ 5602435 w 12192000"/>
              <a:gd name="connsiteY131" fmla="*/ 6063224 h 6858000"/>
              <a:gd name="connsiteX132" fmla="*/ 5518274 w 12192000"/>
              <a:gd name="connsiteY132" fmla="*/ 5964452 h 6858000"/>
              <a:gd name="connsiteX133" fmla="*/ 5302320 w 12192000"/>
              <a:gd name="connsiteY133" fmla="*/ 5938736 h 6858000"/>
              <a:gd name="connsiteX134" fmla="*/ 5318685 w 12192000"/>
              <a:gd name="connsiteY134" fmla="*/ 5938736 h 6858000"/>
              <a:gd name="connsiteX135" fmla="*/ 5361642 w 12192000"/>
              <a:gd name="connsiteY135" fmla="*/ 5978478 h 6858000"/>
              <a:gd name="connsiteX136" fmla="*/ 5316640 w 12192000"/>
              <a:gd name="connsiteY136" fmla="*/ 6016129 h 6858000"/>
              <a:gd name="connsiteX137" fmla="*/ 5271637 w 12192000"/>
              <a:gd name="connsiteY137" fmla="*/ 6016129 h 6858000"/>
              <a:gd name="connsiteX138" fmla="*/ 5271637 w 12192000"/>
              <a:gd name="connsiteY138" fmla="*/ 5940828 h 6858000"/>
              <a:gd name="connsiteX139" fmla="*/ 5302320 w 12192000"/>
              <a:gd name="connsiteY139" fmla="*/ 5938736 h 6858000"/>
              <a:gd name="connsiteX140" fmla="*/ 5678557 w 12192000"/>
              <a:gd name="connsiteY140" fmla="*/ 5927047 h 6858000"/>
              <a:gd name="connsiteX141" fmla="*/ 5649847 w 12192000"/>
              <a:gd name="connsiteY141" fmla="*/ 5933291 h 6858000"/>
              <a:gd name="connsiteX142" fmla="*/ 5643695 w 12192000"/>
              <a:gd name="connsiteY142" fmla="*/ 5939535 h 6858000"/>
              <a:gd name="connsiteX143" fmla="*/ 5643695 w 12192000"/>
              <a:gd name="connsiteY143" fmla="*/ 5970757 h 6858000"/>
              <a:gd name="connsiteX144" fmla="*/ 5627290 w 12192000"/>
              <a:gd name="connsiteY144" fmla="*/ 5970757 h 6858000"/>
              <a:gd name="connsiteX145" fmla="*/ 5621138 w 12192000"/>
              <a:gd name="connsiteY145" fmla="*/ 5977002 h 6858000"/>
              <a:gd name="connsiteX146" fmla="*/ 5621138 w 12192000"/>
              <a:gd name="connsiteY146" fmla="*/ 6001980 h 6858000"/>
              <a:gd name="connsiteX147" fmla="*/ 5627290 w 12192000"/>
              <a:gd name="connsiteY147" fmla="*/ 6008224 h 6858000"/>
              <a:gd name="connsiteX148" fmla="*/ 5643695 w 12192000"/>
              <a:gd name="connsiteY148" fmla="*/ 6008224 h 6858000"/>
              <a:gd name="connsiteX149" fmla="*/ 5643695 w 12192000"/>
              <a:gd name="connsiteY149" fmla="*/ 6091483 h 6858000"/>
              <a:gd name="connsiteX150" fmla="*/ 5699064 w 12192000"/>
              <a:gd name="connsiteY150" fmla="*/ 6164334 h 6858000"/>
              <a:gd name="connsiteX151" fmla="*/ 5731875 w 12192000"/>
              <a:gd name="connsiteY151" fmla="*/ 6160171 h 6858000"/>
              <a:gd name="connsiteX152" fmla="*/ 5738028 w 12192000"/>
              <a:gd name="connsiteY152" fmla="*/ 6151845 h 6858000"/>
              <a:gd name="connsiteX153" fmla="*/ 5735977 w 12192000"/>
              <a:gd name="connsiteY153" fmla="*/ 6128949 h 6858000"/>
              <a:gd name="connsiteX154" fmla="*/ 5729824 w 12192000"/>
              <a:gd name="connsiteY154" fmla="*/ 6120623 h 6858000"/>
              <a:gd name="connsiteX155" fmla="*/ 5705217 w 12192000"/>
              <a:gd name="connsiteY155" fmla="*/ 6122705 h 6858000"/>
              <a:gd name="connsiteX156" fmla="*/ 5686761 w 12192000"/>
              <a:gd name="connsiteY156" fmla="*/ 6085238 h 6858000"/>
              <a:gd name="connsiteX157" fmla="*/ 5686761 w 12192000"/>
              <a:gd name="connsiteY157" fmla="*/ 6008224 h 6858000"/>
              <a:gd name="connsiteX158" fmla="*/ 5729824 w 12192000"/>
              <a:gd name="connsiteY158" fmla="*/ 6008224 h 6858000"/>
              <a:gd name="connsiteX159" fmla="*/ 5735977 w 12192000"/>
              <a:gd name="connsiteY159" fmla="*/ 6001980 h 6858000"/>
              <a:gd name="connsiteX160" fmla="*/ 5735977 w 12192000"/>
              <a:gd name="connsiteY160" fmla="*/ 5977002 h 6858000"/>
              <a:gd name="connsiteX161" fmla="*/ 5729824 w 12192000"/>
              <a:gd name="connsiteY161" fmla="*/ 5970757 h 6858000"/>
              <a:gd name="connsiteX162" fmla="*/ 5686761 w 12192000"/>
              <a:gd name="connsiteY162" fmla="*/ 5970757 h 6858000"/>
              <a:gd name="connsiteX163" fmla="*/ 5686761 w 12192000"/>
              <a:gd name="connsiteY163" fmla="*/ 5933291 h 6858000"/>
              <a:gd name="connsiteX164" fmla="*/ 5684709 w 12192000"/>
              <a:gd name="connsiteY164" fmla="*/ 5927047 h 6858000"/>
              <a:gd name="connsiteX165" fmla="*/ 5678557 w 12192000"/>
              <a:gd name="connsiteY165" fmla="*/ 5927047 h 6858000"/>
              <a:gd name="connsiteX166" fmla="*/ 5312653 w 12192000"/>
              <a:gd name="connsiteY166" fmla="*/ 5897825 h 6858000"/>
              <a:gd name="connsiteX167" fmla="*/ 5232236 w 12192000"/>
              <a:gd name="connsiteY167" fmla="*/ 5901977 h 6858000"/>
              <a:gd name="connsiteX168" fmla="*/ 5226049 w 12192000"/>
              <a:gd name="connsiteY168" fmla="*/ 5910281 h 6858000"/>
              <a:gd name="connsiteX169" fmla="*/ 5226049 w 12192000"/>
              <a:gd name="connsiteY169" fmla="*/ 6151093 h 6858000"/>
              <a:gd name="connsiteX170" fmla="*/ 5234297 w 12192000"/>
              <a:gd name="connsiteY170" fmla="*/ 6157321 h 6858000"/>
              <a:gd name="connsiteX171" fmla="*/ 5263165 w 12192000"/>
              <a:gd name="connsiteY171" fmla="*/ 6157321 h 6858000"/>
              <a:gd name="connsiteX172" fmla="*/ 5271414 w 12192000"/>
              <a:gd name="connsiteY172" fmla="*/ 6151093 h 6858000"/>
              <a:gd name="connsiteX173" fmla="*/ 5271414 w 12192000"/>
              <a:gd name="connsiteY173" fmla="*/ 6055599 h 6858000"/>
              <a:gd name="connsiteX174" fmla="*/ 5320901 w 12192000"/>
              <a:gd name="connsiteY174" fmla="*/ 6057674 h 6858000"/>
              <a:gd name="connsiteX175" fmla="*/ 5362142 w 12192000"/>
              <a:gd name="connsiteY175" fmla="*/ 6153168 h 6858000"/>
              <a:gd name="connsiteX176" fmla="*/ 5368327 w 12192000"/>
              <a:gd name="connsiteY176" fmla="*/ 6157321 h 6858000"/>
              <a:gd name="connsiteX177" fmla="*/ 5401320 w 12192000"/>
              <a:gd name="connsiteY177" fmla="*/ 6157321 h 6858000"/>
              <a:gd name="connsiteX178" fmla="*/ 5407505 w 12192000"/>
              <a:gd name="connsiteY178" fmla="*/ 6155245 h 6858000"/>
              <a:gd name="connsiteX179" fmla="*/ 5409567 w 12192000"/>
              <a:gd name="connsiteY179" fmla="*/ 6149017 h 6858000"/>
              <a:gd name="connsiteX180" fmla="*/ 5362142 w 12192000"/>
              <a:gd name="connsiteY180" fmla="*/ 6045219 h 6858000"/>
              <a:gd name="connsiteX181" fmla="*/ 5407505 w 12192000"/>
              <a:gd name="connsiteY181" fmla="*/ 5976711 h 6858000"/>
              <a:gd name="connsiteX182" fmla="*/ 5318839 w 12192000"/>
              <a:gd name="connsiteY182" fmla="*/ 5897825 h 6858000"/>
              <a:gd name="connsiteX183" fmla="*/ 5312653 w 12192000"/>
              <a:gd name="connsiteY183" fmla="*/ 5897825 h 6858000"/>
              <a:gd name="connsiteX184" fmla="*/ 6675208 w 12192000"/>
              <a:gd name="connsiteY184" fmla="*/ 5864819 h 6858000"/>
              <a:gd name="connsiteX185" fmla="*/ 6683451 w 12192000"/>
              <a:gd name="connsiteY185" fmla="*/ 5864819 h 6858000"/>
              <a:gd name="connsiteX186" fmla="*/ 6790593 w 12192000"/>
              <a:gd name="connsiteY186" fmla="*/ 5926632 h 6858000"/>
              <a:gd name="connsiteX187" fmla="*/ 6794714 w 12192000"/>
              <a:gd name="connsiteY187" fmla="*/ 5932813 h 6858000"/>
              <a:gd name="connsiteX188" fmla="*/ 6786472 w 12192000"/>
              <a:gd name="connsiteY188" fmla="*/ 5938994 h 6858000"/>
              <a:gd name="connsiteX189" fmla="*/ 6695813 w 12192000"/>
              <a:gd name="connsiteY189" fmla="*/ 5982263 h 6858000"/>
              <a:gd name="connsiteX190" fmla="*/ 6685511 w 12192000"/>
              <a:gd name="connsiteY190" fmla="*/ 5984323 h 6858000"/>
              <a:gd name="connsiteX191" fmla="*/ 6681390 w 12192000"/>
              <a:gd name="connsiteY191" fmla="*/ 5974021 h 6858000"/>
              <a:gd name="connsiteX192" fmla="*/ 6673148 w 12192000"/>
              <a:gd name="connsiteY192" fmla="*/ 5873060 h 6858000"/>
              <a:gd name="connsiteX193" fmla="*/ 6675208 w 12192000"/>
              <a:gd name="connsiteY193" fmla="*/ 5864819 h 6858000"/>
              <a:gd name="connsiteX194" fmla="*/ 6617873 w 12192000"/>
              <a:gd name="connsiteY194" fmla="*/ 5864048 h 6858000"/>
              <a:gd name="connsiteX195" fmla="*/ 6621994 w 12192000"/>
              <a:gd name="connsiteY195" fmla="*/ 5864823 h 6858000"/>
              <a:gd name="connsiteX196" fmla="*/ 6624054 w 12192000"/>
              <a:gd name="connsiteY196" fmla="*/ 5875148 h 6858000"/>
              <a:gd name="connsiteX197" fmla="*/ 6615813 w 12192000"/>
              <a:gd name="connsiteY197" fmla="*/ 5976336 h 6858000"/>
              <a:gd name="connsiteX198" fmla="*/ 6611692 w 12192000"/>
              <a:gd name="connsiteY198" fmla="*/ 5984596 h 6858000"/>
              <a:gd name="connsiteX199" fmla="*/ 6601390 w 12192000"/>
              <a:gd name="connsiteY199" fmla="*/ 5984596 h 6858000"/>
              <a:gd name="connsiteX200" fmla="*/ 6510730 w 12192000"/>
              <a:gd name="connsiteY200" fmla="*/ 5939165 h 6858000"/>
              <a:gd name="connsiteX201" fmla="*/ 6502489 w 12192000"/>
              <a:gd name="connsiteY201" fmla="*/ 5932970 h 6858000"/>
              <a:gd name="connsiteX202" fmla="*/ 6506610 w 12192000"/>
              <a:gd name="connsiteY202" fmla="*/ 5926774 h 6858000"/>
              <a:gd name="connsiteX203" fmla="*/ 6613752 w 12192000"/>
              <a:gd name="connsiteY203" fmla="*/ 5864823 h 6858000"/>
              <a:gd name="connsiteX204" fmla="*/ 6617873 w 12192000"/>
              <a:gd name="connsiteY204" fmla="*/ 5864048 h 6858000"/>
              <a:gd name="connsiteX205" fmla="*/ 6649186 w 12192000"/>
              <a:gd name="connsiteY205" fmla="*/ 5828859 h 6858000"/>
              <a:gd name="connsiteX206" fmla="*/ 6432355 w 12192000"/>
              <a:gd name="connsiteY206" fmla="*/ 6048029 h 6858000"/>
              <a:gd name="connsiteX207" fmla="*/ 6649186 w 12192000"/>
              <a:gd name="connsiteY207" fmla="*/ 6267198 h 6858000"/>
              <a:gd name="connsiteX208" fmla="*/ 6866018 w 12192000"/>
              <a:gd name="connsiteY208" fmla="*/ 6048029 h 6858000"/>
              <a:gd name="connsiteX209" fmla="*/ 6649186 w 12192000"/>
              <a:gd name="connsiteY209" fmla="*/ 5828859 h 6858000"/>
              <a:gd name="connsiteX210" fmla="*/ 6648602 w 12192000"/>
              <a:gd name="connsiteY210" fmla="*/ 5797300 h 6858000"/>
              <a:gd name="connsiteX211" fmla="*/ 6895240 w 12192000"/>
              <a:gd name="connsiteY211" fmla="*/ 6046861 h 6858000"/>
              <a:gd name="connsiteX212" fmla="*/ 6648602 w 12192000"/>
              <a:gd name="connsiteY212" fmla="*/ 6296422 h 6858000"/>
              <a:gd name="connsiteX213" fmla="*/ 6401963 w 12192000"/>
              <a:gd name="connsiteY213" fmla="*/ 6046861 h 6858000"/>
              <a:gd name="connsiteX214" fmla="*/ 6648602 w 12192000"/>
              <a:gd name="connsiteY214" fmla="*/ 5797300 h 6858000"/>
              <a:gd name="connsiteX215" fmla="*/ 6635678 w 12192000"/>
              <a:gd name="connsiteY215" fmla="*/ 5718724 h 6858000"/>
              <a:gd name="connsiteX216" fmla="*/ 6623339 w 12192000"/>
              <a:gd name="connsiteY216" fmla="*/ 5768607 h 6858000"/>
              <a:gd name="connsiteX217" fmla="*/ 6600717 w 12192000"/>
              <a:gd name="connsiteY217" fmla="*/ 5772764 h 6858000"/>
              <a:gd name="connsiteX218" fmla="*/ 6573982 w 12192000"/>
              <a:gd name="connsiteY218" fmla="*/ 5727038 h 6858000"/>
              <a:gd name="connsiteX219" fmla="*/ 6573982 w 12192000"/>
              <a:gd name="connsiteY219" fmla="*/ 5724959 h 6858000"/>
              <a:gd name="connsiteX220" fmla="*/ 6571926 w 12192000"/>
              <a:gd name="connsiteY220" fmla="*/ 5727038 h 6858000"/>
              <a:gd name="connsiteX221" fmla="*/ 6551360 w 12192000"/>
              <a:gd name="connsiteY221" fmla="*/ 5731195 h 6858000"/>
              <a:gd name="connsiteX222" fmla="*/ 6551360 w 12192000"/>
              <a:gd name="connsiteY222" fmla="*/ 5733273 h 6858000"/>
              <a:gd name="connsiteX223" fmla="*/ 6547247 w 12192000"/>
              <a:gd name="connsiteY223" fmla="*/ 5758215 h 6858000"/>
              <a:gd name="connsiteX224" fmla="*/ 6551360 w 12192000"/>
              <a:gd name="connsiteY224" fmla="*/ 5785235 h 6858000"/>
              <a:gd name="connsiteX225" fmla="*/ 6530795 w 12192000"/>
              <a:gd name="connsiteY225" fmla="*/ 5793548 h 6858000"/>
              <a:gd name="connsiteX226" fmla="*/ 6493777 w 12192000"/>
              <a:gd name="connsiteY226" fmla="*/ 5758215 h 6858000"/>
              <a:gd name="connsiteX227" fmla="*/ 6493777 w 12192000"/>
              <a:gd name="connsiteY227" fmla="*/ 5756136 h 6858000"/>
              <a:gd name="connsiteX228" fmla="*/ 6491721 w 12192000"/>
              <a:gd name="connsiteY228" fmla="*/ 5756136 h 6858000"/>
              <a:gd name="connsiteX229" fmla="*/ 6473212 w 12192000"/>
              <a:gd name="connsiteY229" fmla="*/ 5768607 h 6858000"/>
              <a:gd name="connsiteX230" fmla="*/ 6473212 w 12192000"/>
              <a:gd name="connsiteY230" fmla="*/ 5770685 h 6858000"/>
              <a:gd name="connsiteX231" fmla="*/ 6485551 w 12192000"/>
              <a:gd name="connsiteY231" fmla="*/ 5820568 h 6858000"/>
              <a:gd name="connsiteX232" fmla="*/ 6469099 w 12192000"/>
              <a:gd name="connsiteY232" fmla="*/ 5833039 h 6858000"/>
              <a:gd name="connsiteX233" fmla="*/ 6425911 w 12192000"/>
              <a:gd name="connsiteY233" fmla="*/ 5806019 h 6858000"/>
              <a:gd name="connsiteX234" fmla="*/ 6423855 w 12192000"/>
              <a:gd name="connsiteY234" fmla="*/ 5806019 h 6858000"/>
              <a:gd name="connsiteX235" fmla="*/ 6423855 w 12192000"/>
              <a:gd name="connsiteY235" fmla="*/ 5808097 h 6858000"/>
              <a:gd name="connsiteX236" fmla="*/ 6407402 w 12192000"/>
              <a:gd name="connsiteY236" fmla="*/ 5822647 h 6858000"/>
              <a:gd name="connsiteX237" fmla="*/ 6407402 w 12192000"/>
              <a:gd name="connsiteY237" fmla="*/ 5824725 h 6858000"/>
              <a:gd name="connsiteX238" fmla="*/ 6434138 w 12192000"/>
              <a:gd name="connsiteY238" fmla="*/ 5870451 h 6858000"/>
              <a:gd name="connsiteX239" fmla="*/ 6419742 w 12192000"/>
              <a:gd name="connsiteY239" fmla="*/ 5887079 h 6858000"/>
              <a:gd name="connsiteX240" fmla="*/ 6370385 w 12192000"/>
              <a:gd name="connsiteY240" fmla="*/ 5874608 h 6858000"/>
              <a:gd name="connsiteX241" fmla="*/ 6368328 w 12192000"/>
              <a:gd name="connsiteY241" fmla="*/ 5874608 h 6858000"/>
              <a:gd name="connsiteX242" fmla="*/ 6358046 w 12192000"/>
              <a:gd name="connsiteY242" fmla="*/ 5893314 h 6858000"/>
              <a:gd name="connsiteX243" fmla="*/ 6358046 w 12192000"/>
              <a:gd name="connsiteY243" fmla="*/ 5895393 h 6858000"/>
              <a:gd name="connsiteX244" fmla="*/ 6395063 w 12192000"/>
              <a:gd name="connsiteY244" fmla="*/ 5932805 h 6858000"/>
              <a:gd name="connsiteX245" fmla="*/ 6386837 w 12192000"/>
              <a:gd name="connsiteY245" fmla="*/ 5951511 h 6858000"/>
              <a:gd name="connsiteX246" fmla="*/ 6335424 w 12192000"/>
              <a:gd name="connsiteY246" fmla="*/ 5951511 h 6858000"/>
              <a:gd name="connsiteX247" fmla="*/ 6333367 w 12192000"/>
              <a:gd name="connsiteY247" fmla="*/ 5951511 h 6858000"/>
              <a:gd name="connsiteX248" fmla="*/ 6333367 w 12192000"/>
              <a:gd name="connsiteY248" fmla="*/ 5953589 h 6858000"/>
              <a:gd name="connsiteX249" fmla="*/ 6327198 w 12192000"/>
              <a:gd name="connsiteY249" fmla="*/ 5974373 h 6858000"/>
              <a:gd name="connsiteX250" fmla="*/ 6329254 w 12192000"/>
              <a:gd name="connsiteY250" fmla="*/ 5976452 h 6858000"/>
              <a:gd name="connsiteX251" fmla="*/ 6372441 w 12192000"/>
              <a:gd name="connsiteY251" fmla="*/ 6001393 h 6858000"/>
              <a:gd name="connsiteX252" fmla="*/ 6370385 w 12192000"/>
              <a:gd name="connsiteY252" fmla="*/ 6024257 h 6858000"/>
              <a:gd name="connsiteX253" fmla="*/ 6321028 w 12192000"/>
              <a:gd name="connsiteY253" fmla="*/ 6036728 h 6858000"/>
              <a:gd name="connsiteX254" fmla="*/ 6318972 w 12192000"/>
              <a:gd name="connsiteY254" fmla="*/ 6036728 h 6858000"/>
              <a:gd name="connsiteX255" fmla="*/ 6318972 w 12192000"/>
              <a:gd name="connsiteY255" fmla="*/ 6038805 h 6858000"/>
              <a:gd name="connsiteX256" fmla="*/ 6318972 w 12192000"/>
              <a:gd name="connsiteY256" fmla="*/ 6049198 h 6858000"/>
              <a:gd name="connsiteX257" fmla="*/ 6318972 w 12192000"/>
              <a:gd name="connsiteY257" fmla="*/ 6059590 h 6858000"/>
              <a:gd name="connsiteX258" fmla="*/ 6318972 w 12192000"/>
              <a:gd name="connsiteY258" fmla="*/ 6061669 h 6858000"/>
              <a:gd name="connsiteX259" fmla="*/ 6321028 w 12192000"/>
              <a:gd name="connsiteY259" fmla="*/ 6061669 h 6858000"/>
              <a:gd name="connsiteX260" fmla="*/ 6370385 w 12192000"/>
              <a:gd name="connsiteY260" fmla="*/ 6074140 h 6858000"/>
              <a:gd name="connsiteX261" fmla="*/ 6374498 w 12192000"/>
              <a:gd name="connsiteY261" fmla="*/ 6097002 h 6858000"/>
              <a:gd name="connsiteX262" fmla="*/ 6329254 w 12192000"/>
              <a:gd name="connsiteY262" fmla="*/ 6124022 h 6858000"/>
              <a:gd name="connsiteX263" fmla="*/ 6327198 w 12192000"/>
              <a:gd name="connsiteY263" fmla="*/ 6124022 h 6858000"/>
              <a:gd name="connsiteX264" fmla="*/ 6327198 w 12192000"/>
              <a:gd name="connsiteY264" fmla="*/ 6126101 h 6858000"/>
              <a:gd name="connsiteX265" fmla="*/ 6333367 w 12192000"/>
              <a:gd name="connsiteY265" fmla="*/ 6146886 h 6858000"/>
              <a:gd name="connsiteX266" fmla="*/ 6335424 w 12192000"/>
              <a:gd name="connsiteY266" fmla="*/ 6146886 h 6858000"/>
              <a:gd name="connsiteX267" fmla="*/ 6386837 w 12192000"/>
              <a:gd name="connsiteY267" fmla="*/ 6146886 h 6858000"/>
              <a:gd name="connsiteX268" fmla="*/ 6395063 w 12192000"/>
              <a:gd name="connsiteY268" fmla="*/ 6167669 h 6858000"/>
              <a:gd name="connsiteX269" fmla="*/ 6358046 w 12192000"/>
              <a:gd name="connsiteY269" fmla="*/ 6205082 h 6858000"/>
              <a:gd name="connsiteX270" fmla="*/ 6358046 w 12192000"/>
              <a:gd name="connsiteY270" fmla="*/ 6207160 h 6858000"/>
              <a:gd name="connsiteX271" fmla="*/ 6370385 w 12192000"/>
              <a:gd name="connsiteY271" fmla="*/ 6225866 h 6858000"/>
              <a:gd name="connsiteX272" fmla="*/ 6421798 w 12192000"/>
              <a:gd name="connsiteY272" fmla="*/ 6211318 h 6858000"/>
              <a:gd name="connsiteX273" fmla="*/ 6434138 w 12192000"/>
              <a:gd name="connsiteY273" fmla="*/ 6230024 h 6858000"/>
              <a:gd name="connsiteX274" fmla="*/ 6407402 w 12192000"/>
              <a:gd name="connsiteY274" fmla="*/ 6275750 h 6858000"/>
              <a:gd name="connsiteX275" fmla="*/ 6409459 w 12192000"/>
              <a:gd name="connsiteY275" fmla="*/ 6277827 h 6858000"/>
              <a:gd name="connsiteX276" fmla="*/ 6423855 w 12192000"/>
              <a:gd name="connsiteY276" fmla="*/ 6292377 h 6858000"/>
              <a:gd name="connsiteX277" fmla="*/ 6425911 w 12192000"/>
              <a:gd name="connsiteY277" fmla="*/ 6292377 h 6858000"/>
              <a:gd name="connsiteX278" fmla="*/ 6471156 w 12192000"/>
              <a:gd name="connsiteY278" fmla="*/ 6265357 h 6858000"/>
              <a:gd name="connsiteX279" fmla="*/ 6487608 w 12192000"/>
              <a:gd name="connsiteY279" fmla="*/ 6279906 h 6858000"/>
              <a:gd name="connsiteX280" fmla="*/ 6475269 w 12192000"/>
              <a:gd name="connsiteY280" fmla="*/ 6329789 h 6858000"/>
              <a:gd name="connsiteX281" fmla="*/ 6475269 w 12192000"/>
              <a:gd name="connsiteY281" fmla="*/ 6331868 h 6858000"/>
              <a:gd name="connsiteX282" fmla="*/ 6493777 w 12192000"/>
              <a:gd name="connsiteY282" fmla="*/ 6342259 h 6858000"/>
              <a:gd name="connsiteX283" fmla="*/ 6493777 w 12192000"/>
              <a:gd name="connsiteY283" fmla="*/ 6344338 h 6858000"/>
              <a:gd name="connsiteX284" fmla="*/ 6495834 w 12192000"/>
              <a:gd name="connsiteY284" fmla="*/ 6342259 h 6858000"/>
              <a:gd name="connsiteX285" fmla="*/ 6532851 w 12192000"/>
              <a:gd name="connsiteY285" fmla="*/ 6304848 h 6858000"/>
              <a:gd name="connsiteX286" fmla="*/ 6551360 w 12192000"/>
              <a:gd name="connsiteY286" fmla="*/ 6313162 h 6858000"/>
              <a:gd name="connsiteX287" fmla="*/ 6549304 w 12192000"/>
              <a:gd name="connsiteY287" fmla="*/ 6340182 h 6858000"/>
              <a:gd name="connsiteX288" fmla="*/ 6551360 w 12192000"/>
              <a:gd name="connsiteY288" fmla="*/ 6365123 h 6858000"/>
              <a:gd name="connsiteX289" fmla="*/ 6551360 w 12192000"/>
              <a:gd name="connsiteY289" fmla="*/ 6367201 h 6858000"/>
              <a:gd name="connsiteX290" fmla="*/ 6553417 w 12192000"/>
              <a:gd name="connsiteY290" fmla="*/ 6367201 h 6858000"/>
              <a:gd name="connsiteX291" fmla="*/ 6573982 w 12192000"/>
              <a:gd name="connsiteY291" fmla="*/ 6373436 h 6858000"/>
              <a:gd name="connsiteX292" fmla="*/ 6576039 w 12192000"/>
              <a:gd name="connsiteY292" fmla="*/ 6373436 h 6858000"/>
              <a:gd name="connsiteX293" fmla="*/ 6600717 w 12192000"/>
              <a:gd name="connsiteY293" fmla="*/ 6327711 h 6858000"/>
              <a:gd name="connsiteX294" fmla="*/ 6623339 w 12192000"/>
              <a:gd name="connsiteY294" fmla="*/ 6329789 h 6858000"/>
              <a:gd name="connsiteX295" fmla="*/ 6635678 w 12192000"/>
              <a:gd name="connsiteY295" fmla="*/ 6381750 h 6858000"/>
              <a:gd name="connsiteX296" fmla="*/ 6637734 w 12192000"/>
              <a:gd name="connsiteY296" fmla="*/ 6381750 h 6858000"/>
              <a:gd name="connsiteX297" fmla="*/ 6658300 w 12192000"/>
              <a:gd name="connsiteY297" fmla="*/ 6381750 h 6858000"/>
              <a:gd name="connsiteX298" fmla="*/ 6660357 w 12192000"/>
              <a:gd name="connsiteY298" fmla="*/ 6381750 h 6858000"/>
              <a:gd name="connsiteX299" fmla="*/ 6674753 w 12192000"/>
              <a:gd name="connsiteY299" fmla="*/ 6329789 h 6858000"/>
              <a:gd name="connsiteX300" fmla="*/ 6695318 w 12192000"/>
              <a:gd name="connsiteY300" fmla="*/ 6327711 h 6858000"/>
              <a:gd name="connsiteX301" fmla="*/ 6722053 w 12192000"/>
              <a:gd name="connsiteY301" fmla="*/ 6373436 h 6858000"/>
              <a:gd name="connsiteX302" fmla="*/ 6742618 w 12192000"/>
              <a:gd name="connsiteY302" fmla="*/ 6367201 h 6858000"/>
              <a:gd name="connsiteX303" fmla="*/ 6744675 w 12192000"/>
              <a:gd name="connsiteY303" fmla="*/ 6367201 h 6858000"/>
              <a:gd name="connsiteX304" fmla="*/ 6746731 w 12192000"/>
              <a:gd name="connsiteY304" fmla="*/ 6340182 h 6858000"/>
              <a:gd name="connsiteX305" fmla="*/ 6744675 w 12192000"/>
              <a:gd name="connsiteY305" fmla="*/ 6313162 h 6858000"/>
              <a:gd name="connsiteX306" fmla="*/ 6765240 w 12192000"/>
              <a:gd name="connsiteY306" fmla="*/ 6304848 h 6858000"/>
              <a:gd name="connsiteX307" fmla="*/ 6802257 w 12192000"/>
              <a:gd name="connsiteY307" fmla="*/ 6342259 h 6858000"/>
              <a:gd name="connsiteX308" fmla="*/ 6820766 w 12192000"/>
              <a:gd name="connsiteY308" fmla="*/ 6331868 h 6858000"/>
              <a:gd name="connsiteX309" fmla="*/ 6822823 w 12192000"/>
              <a:gd name="connsiteY309" fmla="*/ 6329789 h 6858000"/>
              <a:gd name="connsiteX310" fmla="*/ 6822823 w 12192000"/>
              <a:gd name="connsiteY310" fmla="*/ 6327711 h 6858000"/>
              <a:gd name="connsiteX311" fmla="*/ 6808427 w 12192000"/>
              <a:gd name="connsiteY311" fmla="*/ 6279906 h 6858000"/>
              <a:gd name="connsiteX312" fmla="*/ 6824879 w 12192000"/>
              <a:gd name="connsiteY312" fmla="*/ 6265357 h 6858000"/>
              <a:gd name="connsiteX313" fmla="*/ 6870123 w 12192000"/>
              <a:gd name="connsiteY313" fmla="*/ 6292377 h 6858000"/>
              <a:gd name="connsiteX314" fmla="*/ 6872180 w 12192000"/>
              <a:gd name="connsiteY314" fmla="*/ 6292377 h 6858000"/>
              <a:gd name="connsiteX315" fmla="*/ 6886576 w 12192000"/>
              <a:gd name="connsiteY315" fmla="*/ 6275750 h 6858000"/>
              <a:gd name="connsiteX316" fmla="*/ 6888632 w 12192000"/>
              <a:gd name="connsiteY316" fmla="*/ 6275750 h 6858000"/>
              <a:gd name="connsiteX317" fmla="*/ 6861897 w 12192000"/>
              <a:gd name="connsiteY317" fmla="*/ 6230024 h 6858000"/>
              <a:gd name="connsiteX318" fmla="*/ 6874236 w 12192000"/>
              <a:gd name="connsiteY318" fmla="*/ 6211318 h 6858000"/>
              <a:gd name="connsiteX319" fmla="*/ 6925650 w 12192000"/>
              <a:gd name="connsiteY319" fmla="*/ 6225866 h 6858000"/>
              <a:gd name="connsiteX320" fmla="*/ 6927706 w 12192000"/>
              <a:gd name="connsiteY320" fmla="*/ 6223788 h 6858000"/>
              <a:gd name="connsiteX321" fmla="*/ 6937989 w 12192000"/>
              <a:gd name="connsiteY321" fmla="*/ 6205082 h 6858000"/>
              <a:gd name="connsiteX322" fmla="*/ 6937989 w 12192000"/>
              <a:gd name="connsiteY322" fmla="*/ 6203004 h 6858000"/>
              <a:gd name="connsiteX323" fmla="*/ 6900972 w 12192000"/>
              <a:gd name="connsiteY323" fmla="*/ 6167669 h 6858000"/>
              <a:gd name="connsiteX324" fmla="*/ 6909198 w 12192000"/>
              <a:gd name="connsiteY324" fmla="*/ 6146886 h 6858000"/>
              <a:gd name="connsiteX325" fmla="*/ 6960611 w 12192000"/>
              <a:gd name="connsiteY325" fmla="*/ 6146886 h 6858000"/>
              <a:gd name="connsiteX326" fmla="*/ 6962667 w 12192000"/>
              <a:gd name="connsiteY326" fmla="*/ 6146886 h 6858000"/>
              <a:gd name="connsiteX327" fmla="*/ 6966781 w 12192000"/>
              <a:gd name="connsiteY327" fmla="*/ 6126101 h 6858000"/>
              <a:gd name="connsiteX328" fmla="*/ 6966781 w 12192000"/>
              <a:gd name="connsiteY328" fmla="*/ 6124022 h 6858000"/>
              <a:gd name="connsiteX329" fmla="*/ 6921537 w 12192000"/>
              <a:gd name="connsiteY329" fmla="*/ 6097002 h 6858000"/>
              <a:gd name="connsiteX330" fmla="*/ 6925650 w 12192000"/>
              <a:gd name="connsiteY330" fmla="*/ 6076218 h 6858000"/>
              <a:gd name="connsiteX331" fmla="*/ 6975007 w 12192000"/>
              <a:gd name="connsiteY331" fmla="*/ 6061669 h 6858000"/>
              <a:gd name="connsiteX332" fmla="*/ 6977063 w 12192000"/>
              <a:gd name="connsiteY332" fmla="*/ 6061669 h 6858000"/>
              <a:gd name="connsiteX333" fmla="*/ 6977063 w 12192000"/>
              <a:gd name="connsiteY333" fmla="*/ 6049198 h 6858000"/>
              <a:gd name="connsiteX334" fmla="*/ 6977063 w 12192000"/>
              <a:gd name="connsiteY334" fmla="*/ 6038805 h 6858000"/>
              <a:gd name="connsiteX335" fmla="*/ 6975007 w 12192000"/>
              <a:gd name="connsiteY335" fmla="*/ 6038805 h 6858000"/>
              <a:gd name="connsiteX336" fmla="*/ 6925650 w 12192000"/>
              <a:gd name="connsiteY336" fmla="*/ 6024257 h 6858000"/>
              <a:gd name="connsiteX337" fmla="*/ 6923593 w 12192000"/>
              <a:gd name="connsiteY337" fmla="*/ 6003472 h 6858000"/>
              <a:gd name="connsiteX338" fmla="*/ 6966781 w 12192000"/>
              <a:gd name="connsiteY338" fmla="*/ 5976452 h 6858000"/>
              <a:gd name="connsiteX339" fmla="*/ 6968837 w 12192000"/>
              <a:gd name="connsiteY339" fmla="*/ 5976452 h 6858000"/>
              <a:gd name="connsiteX340" fmla="*/ 6968837 w 12192000"/>
              <a:gd name="connsiteY340" fmla="*/ 5974373 h 6858000"/>
              <a:gd name="connsiteX341" fmla="*/ 6962667 w 12192000"/>
              <a:gd name="connsiteY341" fmla="*/ 5953589 h 6858000"/>
              <a:gd name="connsiteX342" fmla="*/ 6960611 w 12192000"/>
              <a:gd name="connsiteY342" fmla="*/ 5953589 h 6858000"/>
              <a:gd name="connsiteX343" fmla="*/ 6909198 w 12192000"/>
              <a:gd name="connsiteY343" fmla="*/ 5953589 h 6858000"/>
              <a:gd name="connsiteX344" fmla="*/ 6900972 w 12192000"/>
              <a:gd name="connsiteY344" fmla="*/ 5932805 h 6858000"/>
              <a:gd name="connsiteX345" fmla="*/ 6937989 w 12192000"/>
              <a:gd name="connsiteY345" fmla="*/ 5895393 h 6858000"/>
              <a:gd name="connsiteX346" fmla="*/ 6937989 w 12192000"/>
              <a:gd name="connsiteY346" fmla="*/ 5893314 h 6858000"/>
              <a:gd name="connsiteX347" fmla="*/ 6927706 w 12192000"/>
              <a:gd name="connsiteY347" fmla="*/ 5874608 h 6858000"/>
              <a:gd name="connsiteX348" fmla="*/ 6925650 w 12192000"/>
              <a:gd name="connsiteY348" fmla="*/ 5874608 h 6858000"/>
              <a:gd name="connsiteX349" fmla="*/ 6876293 w 12192000"/>
              <a:gd name="connsiteY349" fmla="*/ 5887079 h 6858000"/>
              <a:gd name="connsiteX350" fmla="*/ 6861897 w 12192000"/>
              <a:gd name="connsiteY350" fmla="*/ 5870451 h 6858000"/>
              <a:gd name="connsiteX351" fmla="*/ 6888632 w 12192000"/>
              <a:gd name="connsiteY351" fmla="*/ 5824725 h 6858000"/>
              <a:gd name="connsiteX352" fmla="*/ 6888632 w 12192000"/>
              <a:gd name="connsiteY352" fmla="*/ 5822647 h 6858000"/>
              <a:gd name="connsiteX353" fmla="*/ 6872180 w 12192000"/>
              <a:gd name="connsiteY353" fmla="*/ 5808097 h 6858000"/>
              <a:gd name="connsiteX354" fmla="*/ 6826936 w 12192000"/>
              <a:gd name="connsiteY354" fmla="*/ 5833039 h 6858000"/>
              <a:gd name="connsiteX355" fmla="*/ 6808427 w 12192000"/>
              <a:gd name="connsiteY355" fmla="*/ 5820568 h 6858000"/>
              <a:gd name="connsiteX356" fmla="*/ 6822823 w 12192000"/>
              <a:gd name="connsiteY356" fmla="*/ 5770685 h 6858000"/>
              <a:gd name="connsiteX357" fmla="*/ 6822823 w 12192000"/>
              <a:gd name="connsiteY357" fmla="*/ 5768607 h 6858000"/>
              <a:gd name="connsiteX358" fmla="*/ 6804314 w 12192000"/>
              <a:gd name="connsiteY358" fmla="*/ 5758215 h 6858000"/>
              <a:gd name="connsiteX359" fmla="*/ 6802257 w 12192000"/>
              <a:gd name="connsiteY359" fmla="*/ 5756136 h 6858000"/>
              <a:gd name="connsiteX360" fmla="*/ 6802257 w 12192000"/>
              <a:gd name="connsiteY360" fmla="*/ 5758215 h 6858000"/>
              <a:gd name="connsiteX361" fmla="*/ 6765240 w 12192000"/>
              <a:gd name="connsiteY361" fmla="*/ 5793548 h 6858000"/>
              <a:gd name="connsiteX362" fmla="*/ 6744675 w 12192000"/>
              <a:gd name="connsiteY362" fmla="*/ 5785235 h 6858000"/>
              <a:gd name="connsiteX363" fmla="*/ 6748788 w 12192000"/>
              <a:gd name="connsiteY363" fmla="*/ 5758215 h 6858000"/>
              <a:gd name="connsiteX364" fmla="*/ 6744675 w 12192000"/>
              <a:gd name="connsiteY364" fmla="*/ 5733273 h 6858000"/>
              <a:gd name="connsiteX365" fmla="*/ 6744675 w 12192000"/>
              <a:gd name="connsiteY365" fmla="*/ 5731195 h 6858000"/>
              <a:gd name="connsiteX366" fmla="*/ 6742618 w 12192000"/>
              <a:gd name="connsiteY366" fmla="*/ 5731195 h 6858000"/>
              <a:gd name="connsiteX367" fmla="*/ 6722053 w 12192000"/>
              <a:gd name="connsiteY367" fmla="*/ 5727038 h 6858000"/>
              <a:gd name="connsiteX368" fmla="*/ 6695318 w 12192000"/>
              <a:gd name="connsiteY368" fmla="*/ 5772764 h 6858000"/>
              <a:gd name="connsiteX369" fmla="*/ 6672696 w 12192000"/>
              <a:gd name="connsiteY369" fmla="*/ 5768607 h 6858000"/>
              <a:gd name="connsiteX370" fmla="*/ 6660357 w 12192000"/>
              <a:gd name="connsiteY370" fmla="*/ 5718724 h 6858000"/>
              <a:gd name="connsiteX371" fmla="*/ 6658300 w 12192000"/>
              <a:gd name="connsiteY371" fmla="*/ 5718724 h 6858000"/>
              <a:gd name="connsiteX372" fmla="*/ 6637734 w 12192000"/>
              <a:gd name="connsiteY372" fmla="*/ 5718724 h 6858000"/>
              <a:gd name="connsiteX373" fmla="*/ 6635678 w 12192000"/>
              <a:gd name="connsiteY373" fmla="*/ 5718724 h 6858000"/>
              <a:gd name="connsiteX374" fmla="*/ 0 w 12192000"/>
              <a:gd name="connsiteY374" fmla="*/ 0 h 6858000"/>
              <a:gd name="connsiteX375" fmla="*/ 12192000 w 12192000"/>
              <a:gd name="connsiteY375" fmla="*/ 0 h 6858000"/>
              <a:gd name="connsiteX376" fmla="*/ 12192000 w 12192000"/>
              <a:gd name="connsiteY376" fmla="*/ 6858000 h 6858000"/>
              <a:gd name="connsiteX377" fmla="*/ 4539049 w 12192000"/>
              <a:gd name="connsiteY377" fmla="*/ 6858000 h 6858000"/>
              <a:gd name="connsiteX378" fmla="*/ 0 w 12192000"/>
              <a:gd name="connsiteY378" fmla="*/ 6858000 h 6858000"/>
              <a:gd name="connsiteX379" fmla="*/ 0 w 12192000"/>
              <a:gd name="connsiteY379"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12192000" h="6858000">
                <a:moveTo>
                  <a:pt x="6602777" y="6116155"/>
                </a:moveTo>
                <a:cubicBezTo>
                  <a:pt x="6606858" y="6114071"/>
                  <a:pt x="6608899" y="6114071"/>
                  <a:pt x="6612980" y="6116155"/>
                </a:cubicBezTo>
                <a:cubicBezTo>
                  <a:pt x="6615021" y="6118240"/>
                  <a:pt x="6617061" y="6120324"/>
                  <a:pt x="6617061" y="6124493"/>
                </a:cubicBezTo>
                <a:cubicBezTo>
                  <a:pt x="6623183" y="6226637"/>
                  <a:pt x="6623183" y="6226637"/>
                  <a:pt x="6623183" y="6226637"/>
                </a:cubicBezTo>
                <a:cubicBezTo>
                  <a:pt x="6625224" y="6232890"/>
                  <a:pt x="6623183" y="6234975"/>
                  <a:pt x="6621142" y="6237059"/>
                </a:cubicBezTo>
                <a:cubicBezTo>
                  <a:pt x="6619102" y="6239144"/>
                  <a:pt x="6617061" y="6237059"/>
                  <a:pt x="6615021" y="6237059"/>
                </a:cubicBezTo>
                <a:cubicBezTo>
                  <a:pt x="6570127" y="6226637"/>
                  <a:pt x="6539517" y="6207875"/>
                  <a:pt x="6508908" y="6174523"/>
                </a:cubicBezTo>
                <a:cubicBezTo>
                  <a:pt x="6506867" y="6172439"/>
                  <a:pt x="6504827" y="6170354"/>
                  <a:pt x="6504827" y="6168270"/>
                </a:cubicBezTo>
                <a:cubicBezTo>
                  <a:pt x="6504827" y="6168270"/>
                  <a:pt x="6504827" y="6168270"/>
                  <a:pt x="6504827" y="6166184"/>
                </a:cubicBezTo>
                <a:cubicBezTo>
                  <a:pt x="6504827" y="6164100"/>
                  <a:pt x="6508908" y="6162015"/>
                  <a:pt x="6510948" y="6162015"/>
                </a:cubicBezTo>
                <a:cubicBezTo>
                  <a:pt x="6602777" y="6116155"/>
                  <a:pt x="6602777" y="6116155"/>
                  <a:pt x="6602777" y="6116155"/>
                </a:cubicBezTo>
                <a:close/>
                <a:moveTo>
                  <a:pt x="6685511" y="6114071"/>
                </a:moveTo>
                <a:cubicBezTo>
                  <a:pt x="6689631" y="6114071"/>
                  <a:pt x="6691692" y="6114071"/>
                  <a:pt x="6695813" y="6114071"/>
                </a:cubicBezTo>
                <a:cubicBezTo>
                  <a:pt x="6786472" y="6159837"/>
                  <a:pt x="6786472" y="6159837"/>
                  <a:pt x="6786472" y="6159837"/>
                </a:cubicBezTo>
                <a:cubicBezTo>
                  <a:pt x="6790593" y="6161917"/>
                  <a:pt x="6792654" y="6163997"/>
                  <a:pt x="6794714" y="6166078"/>
                </a:cubicBezTo>
                <a:cubicBezTo>
                  <a:pt x="6794714" y="6168158"/>
                  <a:pt x="6792654" y="6170238"/>
                  <a:pt x="6790593" y="6172318"/>
                </a:cubicBezTo>
                <a:cubicBezTo>
                  <a:pt x="6759687" y="6205602"/>
                  <a:pt x="6726720" y="6224325"/>
                  <a:pt x="6683451" y="6234726"/>
                </a:cubicBezTo>
                <a:cubicBezTo>
                  <a:pt x="6679330" y="6236806"/>
                  <a:pt x="6677269" y="6236806"/>
                  <a:pt x="6675208" y="6234726"/>
                </a:cubicBezTo>
                <a:cubicBezTo>
                  <a:pt x="6673148" y="6232646"/>
                  <a:pt x="6673148" y="6228485"/>
                  <a:pt x="6673148" y="6226405"/>
                </a:cubicBezTo>
                <a:cubicBezTo>
                  <a:pt x="6681390" y="6122392"/>
                  <a:pt x="6681390" y="6122392"/>
                  <a:pt x="6681390" y="6122392"/>
                </a:cubicBezTo>
                <a:cubicBezTo>
                  <a:pt x="6681390" y="6120312"/>
                  <a:pt x="6683451" y="6116151"/>
                  <a:pt x="6685511" y="6114071"/>
                </a:cubicBezTo>
                <a:close/>
                <a:moveTo>
                  <a:pt x="5867776" y="6074328"/>
                </a:moveTo>
                <a:cubicBezTo>
                  <a:pt x="5867776" y="6074328"/>
                  <a:pt x="5867776" y="6074328"/>
                  <a:pt x="5867776" y="6117531"/>
                </a:cubicBezTo>
                <a:cubicBezTo>
                  <a:pt x="5867776" y="6117531"/>
                  <a:pt x="5840708" y="6125760"/>
                  <a:pt x="5819888" y="6125760"/>
                </a:cubicBezTo>
                <a:cubicBezTo>
                  <a:pt x="5803231" y="6125760"/>
                  <a:pt x="5801149" y="6109302"/>
                  <a:pt x="5801149" y="6101073"/>
                </a:cubicBezTo>
                <a:cubicBezTo>
                  <a:pt x="5801149" y="6086672"/>
                  <a:pt x="5809477" y="6078443"/>
                  <a:pt x="5826134" y="6076386"/>
                </a:cubicBezTo>
                <a:close/>
                <a:moveTo>
                  <a:pt x="5518276" y="6004194"/>
                </a:moveTo>
                <a:cubicBezTo>
                  <a:pt x="5546913" y="6004194"/>
                  <a:pt x="5559186" y="6020801"/>
                  <a:pt x="5559186" y="6064393"/>
                </a:cubicBezTo>
                <a:cubicBezTo>
                  <a:pt x="5559186" y="6101757"/>
                  <a:pt x="5553050" y="6124591"/>
                  <a:pt x="5518276" y="6124591"/>
                </a:cubicBezTo>
                <a:cubicBezTo>
                  <a:pt x="5483500" y="6124591"/>
                  <a:pt x="5477363" y="6101757"/>
                  <a:pt x="5477363" y="6064393"/>
                </a:cubicBezTo>
                <a:cubicBezTo>
                  <a:pt x="5477363" y="6020801"/>
                  <a:pt x="5487591" y="6004194"/>
                  <a:pt x="5518276" y="6004194"/>
                </a:cubicBezTo>
                <a:close/>
                <a:moveTo>
                  <a:pt x="6672498" y="5995882"/>
                </a:moveTo>
                <a:cubicBezTo>
                  <a:pt x="6675325" y="5995363"/>
                  <a:pt x="6678409" y="5995882"/>
                  <a:pt x="6681491" y="5996921"/>
                </a:cubicBezTo>
                <a:cubicBezTo>
                  <a:pt x="6697937" y="6009390"/>
                  <a:pt x="6708215" y="6028092"/>
                  <a:pt x="6708215" y="6048872"/>
                </a:cubicBezTo>
                <a:cubicBezTo>
                  <a:pt x="6708215" y="6080043"/>
                  <a:pt x="6681491" y="6107057"/>
                  <a:pt x="6648601" y="6107057"/>
                </a:cubicBezTo>
                <a:cubicBezTo>
                  <a:pt x="6615711" y="6107057"/>
                  <a:pt x="6588987" y="6080043"/>
                  <a:pt x="6588987" y="6048872"/>
                </a:cubicBezTo>
                <a:cubicBezTo>
                  <a:pt x="6588987" y="6028092"/>
                  <a:pt x="6599266" y="6009390"/>
                  <a:pt x="6615711" y="5999000"/>
                </a:cubicBezTo>
                <a:cubicBezTo>
                  <a:pt x="6621878" y="5994843"/>
                  <a:pt x="6628045" y="5994843"/>
                  <a:pt x="6632156" y="6001077"/>
                </a:cubicBezTo>
                <a:cubicBezTo>
                  <a:pt x="6636268" y="6007312"/>
                  <a:pt x="6634212" y="6013545"/>
                  <a:pt x="6630100" y="6017702"/>
                </a:cubicBezTo>
                <a:cubicBezTo>
                  <a:pt x="6619822" y="6023936"/>
                  <a:pt x="6613655" y="6036404"/>
                  <a:pt x="6613655" y="6048872"/>
                </a:cubicBezTo>
                <a:cubicBezTo>
                  <a:pt x="6613655" y="6067575"/>
                  <a:pt x="6630100" y="6084199"/>
                  <a:pt x="6648601" y="6084199"/>
                </a:cubicBezTo>
                <a:cubicBezTo>
                  <a:pt x="6667102" y="6084199"/>
                  <a:pt x="6683547" y="6067575"/>
                  <a:pt x="6683547" y="6048872"/>
                </a:cubicBezTo>
                <a:cubicBezTo>
                  <a:pt x="6683547" y="6036404"/>
                  <a:pt x="6677381" y="6023936"/>
                  <a:pt x="6667102" y="6017702"/>
                </a:cubicBezTo>
                <a:cubicBezTo>
                  <a:pt x="6662991" y="6013545"/>
                  <a:pt x="6660935" y="6007312"/>
                  <a:pt x="6665047" y="6001077"/>
                </a:cubicBezTo>
                <a:cubicBezTo>
                  <a:pt x="6667102" y="5997961"/>
                  <a:pt x="6669672" y="5996402"/>
                  <a:pt x="6672498" y="5995882"/>
                </a:cubicBezTo>
                <a:close/>
                <a:moveTo>
                  <a:pt x="6821432" y="5980816"/>
                </a:moveTo>
                <a:cubicBezTo>
                  <a:pt x="6823499" y="5980816"/>
                  <a:pt x="6825565" y="5984968"/>
                  <a:pt x="6825565" y="5987045"/>
                </a:cubicBezTo>
                <a:cubicBezTo>
                  <a:pt x="6837964" y="6030643"/>
                  <a:pt x="6837964" y="6068013"/>
                  <a:pt x="6825565" y="6111612"/>
                </a:cubicBezTo>
                <a:cubicBezTo>
                  <a:pt x="6823499" y="6115764"/>
                  <a:pt x="6823499" y="6117840"/>
                  <a:pt x="6821432" y="6117840"/>
                </a:cubicBezTo>
                <a:cubicBezTo>
                  <a:pt x="6817299" y="6119916"/>
                  <a:pt x="6815233" y="6117840"/>
                  <a:pt x="6813166" y="6115764"/>
                </a:cubicBezTo>
                <a:cubicBezTo>
                  <a:pt x="6728441" y="6057632"/>
                  <a:pt x="6728441" y="6057632"/>
                  <a:pt x="6728441" y="6057632"/>
                </a:cubicBezTo>
                <a:cubicBezTo>
                  <a:pt x="6724308" y="6055557"/>
                  <a:pt x="6722242" y="6053480"/>
                  <a:pt x="6722242" y="6049328"/>
                </a:cubicBezTo>
                <a:cubicBezTo>
                  <a:pt x="6722242" y="6047252"/>
                  <a:pt x="6724308" y="6043100"/>
                  <a:pt x="6728441" y="6041024"/>
                </a:cubicBezTo>
                <a:cubicBezTo>
                  <a:pt x="6813166" y="5982893"/>
                  <a:pt x="6813166" y="5982893"/>
                  <a:pt x="6813166" y="5982893"/>
                </a:cubicBezTo>
                <a:cubicBezTo>
                  <a:pt x="6815233" y="5980816"/>
                  <a:pt x="6819366" y="5980816"/>
                  <a:pt x="6821432" y="5980816"/>
                </a:cubicBezTo>
                <a:close/>
                <a:moveTo>
                  <a:pt x="6475604" y="5980816"/>
                </a:moveTo>
                <a:cubicBezTo>
                  <a:pt x="6479695" y="5980816"/>
                  <a:pt x="6481741" y="5982893"/>
                  <a:pt x="6483787" y="5984968"/>
                </a:cubicBezTo>
                <a:cubicBezTo>
                  <a:pt x="6567656" y="6041024"/>
                  <a:pt x="6567656" y="6041024"/>
                  <a:pt x="6567656" y="6041024"/>
                </a:cubicBezTo>
                <a:cubicBezTo>
                  <a:pt x="6571747" y="6043100"/>
                  <a:pt x="6573792" y="6047252"/>
                  <a:pt x="6573792" y="6049328"/>
                </a:cubicBezTo>
                <a:cubicBezTo>
                  <a:pt x="6573792" y="6053480"/>
                  <a:pt x="6571747" y="6055557"/>
                  <a:pt x="6567656" y="6057632"/>
                </a:cubicBezTo>
                <a:lnTo>
                  <a:pt x="6483787" y="6115764"/>
                </a:lnTo>
                <a:cubicBezTo>
                  <a:pt x="6479695" y="6117840"/>
                  <a:pt x="6477650" y="6119916"/>
                  <a:pt x="6475604" y="6117840"/>
                </a:cubicBezTo>
                <a:cubicBezTo>
                  <a:pt x="6473559" y="6117840"/>
                  <a:pt x="6471513" y="6115764"/>
                  <a:pt x="6471513" y="6111612"/>
                </a:cubicBezTo>
                <a:cubicBezTo>
                  <a:pt x="6459240" y="6068013"/>
                  <a:pt x="6459240" y="6032719"/>
                  <a:pt x="6471513" y="5987045"/>
                </a:cubicBezTo>
                <a:cubicBezTo>
                  <a:pt x="6471513" y="5984968"/>
                  <a:pt x="6473559" y="5982893"/>
                  <a:pt x="6475604" y="5980816"/>
                </a:cubicBezTo>
                <a:close/>
                <a:moveTo>
                  <a:pt x="6087559" y="5970296"/>
                </a:moveTo>
                <a:cubicBezTo>
                  <a:pt x="6085506" y="5970296"/>
                  <a:pt x="6083453" y="5970296"/>
                  <a:pt x="6081400" y="5972374"/>
                </a:cubicBezTo>
                <a:cubicBezTo>
                  <a:pt x="6079347" y="5974451"/>
                  <a:pt x="6079347" y="5976528"/>
                  <a:pt x="6079347" y="5978604"/>
                </a:cubicBezTo>
                <a:cubicBezTo>
                  <a:pt x="6120408" y="6136455"/>
                  <a:pt x="6120408" y="6136455"/>
                  <a:pt x="6120408" y="6136455"/>
                </a:cubicBezTo>
                <a:cubicBezTo>
                  <a:pt x="6122461" y="6144763"/>
                  <a:pt x="6130674" y="6157224"/>
                  <a:pt x="6145045" y="6157224"/>
                </a:cubicBezTo>
                <a:cubicBezTo>
                  <a:pt x="6153257" y="6157224"/>
                  <a:pt x="6153257" y="6157224"/>
                  <a:pt x="6153257" y="6157224"/>
                </a:cubicBezTo>
                <a:cubicBezTo>
                  <a:pt x="6151204" y="6161378"/>
                  <a:pt x="6151204" y="6163456"/>
                  <a:pt x="6149151" y="6165532"/>
                </a:cubicBezTo>
                <a:cubicBezTo>
                  <a:pt x="6149151" y="6167609"/>
                  <a:pt x="6149151" y="6167609"/>
                  <a:pt x="6149151" y="6167609"/>
                </a:cubicBezTo>
                <a:cubicBezTo>
                  <a:pt x="6147098" y="6173841"/>
                  <a:pt x="6145045" y="6186302"/>
                  <a:pt x="6124515" y="6186302"/>
                </a:cubicBezTo>
                <a:cubicBezTo>
                  <a:pt x="6089612" y="6184225"/>
                  <a:pt x="6089612" y="6184225"/>
                  <a:pt x="6089612" y="6184225"/>
                </a:cubicBezTo>
                <a:cubicBezTo>
                  <a:pt x="6087559" y="6182148"/>
                  <a:pt x="6085506" y="6184225"/>
                  <a:pt x="6083453" y="6186302"/>
                </a:cubicBezTo>
                <a:cubicBezTo>
                  <a:pt x="6081400" y="6186302"/>
                  <a:pt x="6081400" y="6188379"/>
                  <a:pt x="6081400" y="6190456"/>
                </a:cubicBezTo>
                <a:cubicBezTo>
                  <a:pt x="6081400" y="6209149"/>
                  <a:pt x="6081400" y="6209149"/>
                  <a:pt x="6081400" y="6209149"/>
                </a:cubicBezTo>
                <a:cubicBezTo>
                  <a:pt x="6081400" y="6213303"/>
                  <a:pt x="6083453" y="6215380"/>
                  <a:pt x="6087559" y="6215380"/>
                </a:cubicBezTo>
                <a:cubicBezTo>
                  <a:pt x="6097825" y="6219533"/>
                  <a:pt x="6118355" y="6221610"/>
                  <a:pt x="6134780" y="6221610"/>
                </a:cubicBezTo>
                <a:cubicBezTo>
                  <a:pt x="6134780" y="6221610"/>
                  <a:pt x="6134780" y="6221610"/>
                  <a:pt x="6136833" y="6221610"/>
                </a:cubicBezTo>
                <a:cubicBezTo>
                  <a:pt x="6163523" y="6221610"/>
                  <a:pt x="6182000" y="6204995"/>
                  <a:pt x="6190213" y="6169686"/>
                </a:cubicBezTo>
                <a:cubicBezTo>
                  <a:pt x="6200478" y="6130223"/>
                  <a:pt x="6214849" y="6078299"/>
                  <a:pt x="6223062" y="6040914"/>
                </a:cubicBezTo>
                <a:cubicBezTo>
                  <a:pt x="6227168" y="6024298"/>
                  <a:pt x="6231274" y="6009759"/>
                  <a:pt x="6235380" y="5999374"/>
                </a:cubicBezTo>
                <a:cubicBezTo>
                  <a:pt x="6239487" y="5978604"/>
                  <a:pt x="6239487" y="5978604"/>
                  <a:pt x="6239487" y="5978604"/>
                </a:cubicBezTo>
                <a:cubicBezTo>
                  <a:pt x="6239487" y="5976528"/>
                  <a:pt x="6239487" y="5974451"/>
                  <a:pt x="6237434" y="5972374"/>
                </a:cubicBezTo>
                <a:cubicBezTo>
                  <a:pt x="6237434" y="5970296"/>
                  <a:pt x="6235380" y="5970296"/>
                  <a:pt x="6233327" y="5970296"/>
                </a:cubicBezTo>
                <a:cubicBezTo>
                  <a:pt x="6204584" y="5970296"/>
                  <a:pt x="6204584" y="5970296"/>
                  <a:pt x="6204584" y="5970296"/>
                </a:cubicBezTo>
                <a:cubicBezTo>
                  <a:pt x="6202531" y="5970296"/>
                  <a:pt x="6198425" y="5972374"/>
                  <a:pt x="6198425" y="5974451"/>
                </a:cubicBezTo>
                <a:cubicBezTo>
                  <a:pt x="6161469" y="6115685"/>
                  <a:pt x="6161469" y="6115685"/>
                  <a:pt x="6161469" y="6115685"/>
                </a:cubicBezTo>
                <a:cubicBezTo>
                  <a:pt x="6159417" y="6115685"/>
                  <a:pt x="6159417" y="6115685"/>
                  <a:pt x="6159417" y="6115685"/>
                </a:cubicBezTo>
                <a:cubicBezTo>
                  <a:pt x="6120408" y="5974451"/>
                  <a:pt x="6120408" y="5974451"/>
                  <a:pt x="6120408" y="5974451"/>
                </a:cubicBezTo>
                <a:cubicBezTo>
                  <a:pt x="6120408" y="5972374"/>
                  <a:pt x="6118355" y="5970296"/>
                  <a:pt x="6114249" y="5970296"/>
                </a:cubicBezTo>
                <a:cubicBezTo>
                  <a:pt x="6087559" y="5970296"/>
                  <a:pt x="6087559" y="5970296"/>
                  <a:pt x="6087559" y="5970296"/>
                </a:cubicBezTo>
                <a:close/>
                <a:moveTo>
                  <a:pt x="6047787" y="5967959"/>
                </a:moveTo>
                <a:cubicBezTo>
                  <a:pt x="6029376" y="5967959"/>
                  <a:pt x="6010966" y="5980444"/>
                  <a:pt x="5998692" y="5988768"/>
                </a:cubicBezTo>
                <a:cubicBezTo>
                  <a:pt x="5998692" y="5976283"/>
                  <a:pt x="5998692" y="5976283"/>
                  <a:pt x="5998692" y="5976283"/>
                </a:cubicBezTo>
                <a:cubicBezTo>
                  <a:pt x="5998692" y="5972120"/>
                  <a:pt x="5996647" y="5970040"/>
                  <a:pt x="5992556" y="5970040"/>
                </a:cubicBezTo>
                <a:cubicBezTo>
                  <a:pt x="5963918" y="5970040"/>
                  <a:pt x="5963918" y="5970040"/>
                  <a:pt x="5963918" y="5970040"/>
                </a:cubicBezTo>
                <a:cubicBezTo>
                  <a:pt x="5959827" y="5970040"/>
                  <a:pt x="5957781" y="5972120"/>
                  <a:pt x="5957781" y="5976283"/>
                </a:cubicBezTo>
                <a:cubicBezTo>
                  <a:pt x="5957781" y="6151078"/>
                  <a:pt x="5957781" y="6151078"/>
                  <a:pt x="5957781" y="6151078"/>
                </a:cubicBezTo>
                <a:cubicBezTo>
                  <a:pt x="5957781" y="6155240"/>
                  <a:pt x="5959827" y="6157321"/>
                  <a:pt x="5963918" y="6157321"/>
                </a:cubicBezTo>
                <a:cubicBezTo>
                  <a:pt x="5992556" y="6157321"/>
                  <a:pt x="5992556" y="6157321"/>
                  <a:pt x="5992556" y="6157321"/>
                </a:cubicBezTo>
                <a:cubicBezTo>
                  <a:pt x="5996647" y="6157321"/>
                  <a:pt x="5998692" y="6155240"/>
                  <a:pt x="5998692" y="6151078"/>
                </a:cubicBezTo>
                <a:cubicBezTo>
                  <a:pt x="5998692" y="6030386"/>
                  <a:pt x="5998692" y="6030386"/>
                  <a:pt x="5998692" y="6030386"/>
                </a:cubicBezTo>
                <a:cubicBezTo>
                  <a:pt x="6006875" y="6024143"/>
                  <a:pt x="6025285" y="6009577"/>
                  <a:pt x="6049832" y="6007496"/>
                </a:cubicBezTo>
                <a:cubicBezTo>
                  <a:pt x="6053923" y="6007496"/>
                  <a:pt x="6055969" y="6003334"/>
                  <a:pt x="6055969" y="6001253"/>
                </a:cubicBezTo>
                <a:cubicBezTo>
                  <a:pt x="6055969" y="5974202"/>
                  <a:pt x="6055969" y="5974202"/>
                  <a:pt x="6055969" y="5974202"/>
                </a:cubicBezTo>
                <a:cubicBezTo>
                  <a:pt x="6055969" y="5972120"/>
                  <a:pt x="6055969" y="5970040"/>
                  <a:pt x="6053923" y="5970040"/>
                </a:cubicBezTo>
                <a:cubicBezTo>
                  <a:pt x="6051878" y="5967959"/>
                  <a:pt x="6049832" y="5967959"/>
                  <a:pt x="6047787" y="5967959"/>
                </a:cubicBezTo>
                <a:close/>
                <a:moveTo>
                  <a:pt x="5846879" y="5964452"/>
                </a:moveTo>
                <a:cubicBezTo>
                  <a:pt x="5826186" y="5964452"/>
                  <a:pt x="5791009" y="5970690"/>
                  <a:pt x="5776523" y="5972770"/>
                </a:cubicBezTo>
                <a:cubicBezTo>
                  <a:pt x="5772384" y="5972770"/>
                  <a:pt x="5770315" y="5976928"/>
                  <a:pt x="5770315" y="5979008"/>
                </a:cubicBezTo>
                <a:cubicBezTo>
                  <a:pt x="5770315" y="5979008"/>
                  <a:pt x="5770315" y="5979008"/>
                  <a:pt x="5772384" y="6003961"/>
                </a:cubicBezTo>
                <a:cubicBezTo>
                  <a:pt x="5772384" y="6006040"/>
                  <a:pt x="5772384" y="6008120"/>
                  <a:pt x="5774454" y="6008120"/>
                </a:cubicBezTo>
                <a:cubicBezTo>
                  <a:pt x="5776523" y="6010199"/>
                  <a:pt x="5776523" y="6010199"/>
                  <a:pt x="5778592" y="6010199"/>
                </a:cubicBezTo>
                <a:cubicBezTo>
                  <a:pt x="5795147" y="6010199"/>
                  <a:pt x="5824116" y="6006040"/>
                  <a:pt x="5844809" y="6006040"/>
                </a:cubicBezTo>
                <a:cubicBezTo>
                  <a:pt x="5859294" y="6006040"/>
                  <a:pt x="5867571" y="6014358"/>
                  <a:pt x="5867571" y="6028914"/>
                </a:cubicBezTo>
                <a:cubicBezTo>
                  <a:pt x="5867571" y="6028914"/>
                  <a:pt x="5867571" y="6028914"/>
                  <a:pt x="5867571" y="6041390"/>
                </a:cubicBezTo>
                <a:cubicBezTo>
                  <a:pt x="5867571" y="6041390"/>
                  <a:pt x="5867571" y="6041390"/>
                  <a:pt x="5822047" y="6045549"/>
                </a:cubicBezTo>
                <a:cubicBezTo>
                  <a:pt x="5776523" y="6047629"/>
                  <a:pt x="5757900" y="6064264"/>
                  <a:pt x="5757900" y="6101693"/>
                </a:cubicBezTo>
                <a:cubicBezTo>
                  <a:pt x="5757900" y="6141202"/>
                  <a:pt x="5778592" y="6161996"/>
                  <a:pt x="5813770" y="6161996"/>
                </a:cubicBezTo>
                <a:cubicBezTo>
                  <a:pt x="5842740" y="6161996"/>
                  <a:pt x="5873779" y="6149520"/>
                  <a:pt x="5873779" y="6149520"/>
                </a:cubicBezTo>
                <a:cubicBezTo>
                  <a:pt x="5882056" y="6155758"/>
                  <a:pt x="5888264" y="6159917"/>
                  <a:pt x="5902750" y="6161996"/>
                </a:cubicBezTo>
                <a:cubicBezTo>
                  <a:pt x="5904818" y="6161996"/>
                  <a:pt x="5906888" y="6161996"/>
                  <a:pt x="5908957" y="6159917"/>
                </a:cubicBezTo>
                <a:cubicBezTo>
                  <a:pt x="5908957" y="6157837"/>
                  <a:pt x="5911026" y="6155758"/>
                  <a:pt x="5911026" y="6153679"/>
                </a:cubicBezTo>
                <a:cubicBezTo>
                  <a:pt x="5911026" y="6153679"/>
                  <a:pt x="5911026" y="6153679"/>
                  <a:pt x="5911026" y="6028914"/>
                </a:cubicBezTo>
                <a:cubicBezTo>
                  <a:pt x="5911026" y="5985246"/>
                  <a:pt x="5890333" y="5964452"/>
                  <a:pt x="5846879" y="5964452"/>
                </a:cubicBezTo>
                <a:close/>
                <a:moveTo>
                  <a:pt x="5518274" y="5964452"/>
                </a:moveTo>
                <a:cubicBezTo>
                  <a:pt x="5471794" y="5964452"/>
                  <a:pt x="5434114" y="6008673"/>
                  <a:pt x="5434114" y="6063224"/>
                </a:cubicBezTo>
                <a:cubicBezTo>
                  <a:pt x="5434114" y="6117775"/>
                  <a:pt x="5471794" y="6161996"/>
                  <a:pt x="5518274" y="6161996"/>
                </a:cubicBezTo>
                <a:cubicBezTo>
                  <a:pt x="5564755" y="6161996"/>
                  <a:pt x="5602435" y="6117775"/>
                  <a:pt x="5602435" y="6063224"/>
                </a:cubicBezTo>
                <a:cubicBezTo>
                  <a:pt x="5602435" y="6008673"/>
                  <a:pt x="5564755" y="5964452"/>
                  <a:pt x="5518274" y="5964452"/>
                </a:cubicBezTo>
                <a:close/>
                <a:moveTo>
                  <a:pt x="5302320" y="5938736"/>
                </a:moveTo>
                <a:cubicBezTo>
                  <a:pt x="5302320" y="5938736"/>
                  <a:pt x="5302320" y="5938736"/>
                  <a:pt x="5318685" y="5938736"/>
                </a:cubicBezTo>
                <a:cubicBezTo>
                  <a:pt x="5349369" y="5938736"/>
                  <a:pt x="5361642" y="5959653"/>
                  <a:pt x="5361642" y="5978478"/>
                </a:cubicBezTo>
                <a:cubicBezTo>
                  <a:pt x="5361642" y="6001488"/>
                  <a:pt x="5343232" y="6016129"/>
                  <a:pt x="5316640" y="6016129"/>
                </a:cubicBezTo>
                <a:cubicBezTo>
                  <a:pt x="5294139" y="6018221"/>
                  <a:pt x="5279820" y="6016129"/>
                  <a:pt x="5271637" y="6016129"/>
                </a:cubicBezTo>
                <a:cubicBezTo>
                  <a:pt x="5271637" y="6016129"/>
                  <a:pt x="5271637" y="6016129"/>
                  <a:pt x="5271637" y="5940828"/>
                </a:cubicBezTo>
                <a:cubicBezTo>
                  <a:pt x="5275728" y="5938736"/>
                  <a:pt x="5285956" y="5938736"/>
                  <a:pt x="5302320" y="5938736"/>
                </a:cubicBezTo>
                <a:close/>
                <a:moveTo>
                  <a:pt x="5678557" y="5927047"/>
                </a:moveTo>
                <a:cubicBezTo>
                  <a:pt x="5678557" y="5927047"/>
                  <a:pt x="5678557" y="5927047"/>
                  <a:pt x="5649847" y="5933291"/>
                </a:cubicBezTo>
                <a:cubicBezTo>
                  <a:pt x="5645746" y="5935373"/>
                  <a:pt x="5643695" y="5937455"/>
                  <a:pt x="5643695" y="5939535"/>
                </a:cubicBezTo>
                <a:cubicBezTo>
                  <a:pt x="5643695" y="5939535"/>
                  <a:pt x="5643695" y="5939535"/>
                  <a:pt x="5643695" y="5970757"/>
                </a:cubicBezTo>
                <a:cubicBezTo>
                  <a:pt x="5643695" y="5970757"/>
                  <a:pt x="5643695" y="5970757"/>
                  <a:pt x="5627290" y="5970757"/>
                </a:cubicBezTo>
                <a:cubicBezTo>
                  <a:pt x="5623188" y="5970757"/>
                  <a:pt x="5621138" y="5972839"/>
                  <a:pt x="5621138" y="5977002"/>
                </a:cubicBezTo>
                <a:cubicBezTo>
                  <a:pt x="5621138" y="5977002"/>
                  <a:pt x="5621138" y="5977002"/>
                  <a:pt x="5621138" y="6001980"/>
                </a:cubicBezTo>
                <a:cubicBezTo>
                  <a:pt x="5621138" y="6006143"/>
                  <a:pt x="5623188" y="6008224"/>
                  <a:pt x="5627290" y="6008224"/>
                </a:cubicBezTo>
                <a:cubicBezTo>
                  <a:pt x="5627290" y="6008224"/>
                  <a:pt x="5627290" y="6008224"/>
                  <a:pt x="5643695" y="6008224"/>
                </a:cubicBezTo>
                <a:cubicBezTo>
                  <a:pt x="5643695" y="6008224"/>
                  <a:pt x="5643695" y="6008224"/>
                  <a:pt x="5643695" y="6091483"/>
                </a:cubicBezTo>
                <a:cubicBezTo>
                  <a:pt x="5643695" y="6147682"/>
                  <a:pt x="5658050" y="6164334"/>
                  <a:pt x="5699064" y="6164334"/>
                </a:cubicBezTo>
                <a:cubicBezTo>
                  <a:pt x="5709318" y="6164334"/>
                  <a:pt x="5721622" y="6160171"/>
                  <a:pt x="5731875" y="6160171"/>
                </a:cubicBezTo>
                <a:cubicBezTo>
                  <a:pt x="5735977" y="6158090"/>
                  <a:pt x="5738028" y="6156008"/>
                  <a:pt x="5738028" y="6151845"/>
                </a:cubicBezTo>
                <a:cubicBezTo>
                  <a:pt x="5738028" y="6151845"/>
                  <a:pt x="5738028" y="6151845"/>
                  <a:pt x="5735977" y="6128949"/>
                </a:cubicBezTo>
                <a:cubicBezTo>
                  <a:pt x="5735977" y="6124786"/>
                  <a:pt x="5733926" y="6120623"/>
                  <a:pt x="5729824" y="6120623"/>
                </a:cubicBezTo>
                <a:cubicBezTo>
                  <a:pt x="5723673" y="6120623"/>
                  <a:pt x="5713419" y="6122705"/>
                  <a:pt x="5705217" y="6122705"/>
                </a:cubicBezTo>
                <a:cubicBezTo>
                  <a:pt x="5686761" y="6122705"/>
                  <a:pt x="5686761" y="6112298"/>
                  <a:pt x="5686761" y="6085238"/>
                </a:cubicBezTo>
                <a:cubicBezTo>
                  <a:pt x="5686761" y="6085238"/>
                  <a:pt x="5686761" y="6085238"/>
                  <a:pt x="5686761" y="6008224"/>
                </a:cubicBezTo>
                <a:cubicBezTo>
                  <a:pt x="5686761" y="6008224"/>
                  <a:pt x="5686761" y="6008224"/>
                  <a:pt x="5729824" y="6008224"/>
                </a:cubicBezTo>
                <a:cubicBezTo>
                  <a:pt x="5733926" y="6008224"/>
                  <a:pt x="5735977" y="6006143"/>
                  <a:pt x="5735977" y="6001980"/>
                </a:cubicBezTo>
                <a:cubicBezTo>
                  <a:pt x="5735977" y="6001980"/>
                  <a:pt x="5735977" y="6001980"/>
                  <a:pt x="5735977" y="5977002"/>
                </a:cubicBezTo>
                <a:cubicBezTo>
                  <a:pt x="5735977" y="5972839"/>
                  <a:pt x="5733926" y="5970757"/>
                  <a:pt x="5729824" y="5970757"/>
                </a:cubicBezTo>
                <a:cubicBezTo>
                  <a:pt x="5729824" y="5970757"/>
                  <a:pt x="5729824" y="5970757"/>
                  <a:pt x="5686761" y="5970757"/>
                </a:cubicBezTo>
                <a:cubicBezTo>
                  <a:pt x="5686761" y="5970757"/>
                  <a:pt x="5686761" y="5970757"/>
                  <a:pt x="5686761" y="5933291"/>
                </a:cubicBezTo>
                <a:cubicBezTo>
                  <a:pt x="5686761" y="5931210"/>
                  <a:pt x="5684709" y="5929128"/>
                  <a:pt x="5684709" y="5927047"/>
                </a:cubicBezTo>
                <a:cubicBezTo>
                  <a:pt x="5682658" y="5927047"/>
                  <a:pt x="5680608" y="5927047"/>
                  <a:pt x="5678557" y="5927047"/>
                </a:cubicBezTo>
                <a:close/>
                <a:moveTo>
                  <a:pt x="5312653" y="5897825"/>
                </a:moveTo>
                <a:cubicBezTo>
                  <a:pt x="5302343" y="5897825"/>
                  <a:pt x="5271414" y="5897825"/>
                  <a:pt x="5232236" y="5901977"/>
                </a:cubicBezTo>
                <a:cubicBezTo>
                  <a:pt x="5230173" y="5901977"/>
                  <a:pt x="5226049" y="5906129"/>
                  <a:pt x="5226049" y="5910281"/>
                </a:cubicBezTo>
                <a:cubicBezTo>
                  <a:pt x="5226049" y="5910281"/>
                  <a:pt x="5226049" y="5910281"/>
                  <a:pt x="5226049" y="6151093"/>
                </a:cubicBezTo>
                <a:cubicBezTo>
                  <a:pt x="5226049" y="6155245"/>
                  <a:pt x="5230173" y="6157321"/>
                  <a:pt x="5234297" y="6157321"/>
                </a:cubicBezTo>
                <a:cubicBezTo>
                  <a:pt x="5234297" y="6157321"/>
                  <a:pt x="5234297" y="6157321"/>
                  <a:pt x="5263165" y="6157321"/>
                </a:cubicBezTo>
                <a:cubicBezTo>
                  <a:pt x="5267290" y="6157321"/>
                  <a:pt x="5271414" y="6155245"/>
                  <a:pt x="5271414" y="6151093"/>
                </a:cubicBezTo>
                <a:cubicBezTo>
                  <a:pt x="5271414" y="6151093"/>
                  <a:pt x="5271414" y="6151093"/>
                  <a:pt x="5271414" y="6055599"/>
                </a:cubicBezTo>
                <a:cubicBezTo>
                  <a:pt x="5279661" y="6055599"/>
                  <a:pt x="5298219" y="6057674"/>
                  <a:pt x="5320901" y="6057674"/>
                </a:cubicBezTo>
                <a:cubicBezTo>
                  <a:pt x="5320901" y="6057674"/>
                  <a:pt x="5320901" y="6057674"/>
                  <a:pt x="5362142" y="6153168"/>
                </a:cubicBezTo>
                <a:cubicBezTo>
                  <a:pt x="5364203" y="6157321"/>
                  <a:pt x="5366265" y="6157321"/>
                  <a:pt x="5368327" y="6157321"/>
                </a:cubicBezTo>
                <a:cubicBezTo>
                  <a:pt x="5368327" y="6157321"/>
                  <a:pt x="5368327" y="6157321"/>
                  <a:pt x="5401320" y="6157321"/>
                </a:cubicBezTo>
                <a:cubicBezTo>
                  <a:pt x="5405443" y="6157321"/>
                  <a:pt x="5407505" y="6157321"/>
                  <a:pt x="5407505" y="6155245"/>
                </a:cubicBezTo>
                <a:cubicBezTo>
                  <a:pt x="5409567" y="6153168"/>
                  <a:pt x="5409567" y="6151093"/>
                  <a:pt x="5409567" y="6149017"/>
                </a:cubicBezTo>
                <a:lnTo>
                  <a:pt x="5362142" y="6045219"/>
                </a:lnTo>
                <a:cubicBezTo>
                  <a:pt x="5393071" y="6030687"/>
                  <a:pt x="5407505" y="6007851"/>
                  <a:pt x="5407505" y="5976711"/>
                </a:cubicBezTo>
                <a:cubicBezTo>
                  <a:pt x="5407505" y="5941420"/>
                  <a:pt x="5391009" y="5897825"/>
                  <a:pt x="5318839" y="5897825"/>
                </a:cubicBezTo>
                <a:cubicBezTo>
                  <a:pt x="5318839" y="5897825"/>
                  <a:pt x="5316777" y="5897825"/>
                  <a:pt x="5312653" y="5897825"/>
                </a:cubicBezTo>
                <a:close/>
                <a:moveTo>
                  <a:pt x="6675208" y="5864819"/>
                </a:moveTo>
                <a:cubicBezTo>
                  <a:pt x="6677269" y="5862758"/>
                  <a:pt x="6681390" y="5862758"/>
                  <a:pt x="6683451" y="5864819"/>
                </a:cubicBezTo>
                <a:cubicBezTo>
                  <a:pt x="6726720" y="5875120"/>
                  <a:pt x="6759687" y="5893664"/>
                  <a:pt x="6790593" y="5926632"/>
                </a:cubicBezTo>
                <a:cubicBezTo>
                  <a:pt x="6792654" y="5928692"/>
                  <a:pt x="6794714" y="5930752"/>
                  <a:pt x="6794714" y="5932813"/>
                </a:cubicBezTo>
                <a:cubicBezTo>
                  <a:pt x="6792654" y="5936933"/>
                  <a:pt x="6790593" y="5936933"/>
                  <a:pt x="6786472" y="5938994"/>
                </a:cubicBezTo>
                <a:cubicBezTo>
                  <a:pt x="6695813" y="5982263"/>
                  <a:pt x="6695813" y="5982263"/>
                  <a:pt x="6695813" y="5982263"/>
                </a:cubicBezTo>
                <a:cubicBezTo>
                  <a:pt x="6691692" y="5984323"/>
                  <a:pt x="6687571" y="5984323"/>
                  <a:pt x="6685511" y="5984323"/>
                </a:cubicBezTo>
                <a:cubicBezTo>
                  <a:pt x="6683451" y="5982263"/>
                  <a:pt x="6681390" y="5978142"/>
                  <a:pt x="6681390" y="5974021"/>
                </a:cubicBezTo>
                <a:cubicBezTo>
                  <a:pt x="6673148" y="5873060"/>
                  <a:pt x="6673148" y="5873060"/>
                  <a:pt x="6673148" y="5873060"/>
                </a:cubicBezTo>
                <a:cubicBezTo>
                  <a:pt x="6673148" y="5868939"/>
                  <a:pt x="6673148" y="5866879"/>
                  <a:pt x="6675208" y="5864819"/>
                </a:cubicBezTo>
                <a:close/>
                <a:moveTo>
                  <a:pt x="6617873" y="5864048"/>
                </a:moveTo>
                <a:cubicBezTo>
                  <a:pt x="6619419" y="5863791"/>
                  <a:pt x="6620964" y="5863791"/>
                  <a:pt x="6621994" y="5864823"/>
                </a:cubicBezTo>
                <a:cubicBezTo>
                  <a:pt x="6621994" y="5866888"/>
                  <a:pt x="6624054" y="5868953"/>
                  <a:pt x="6624054" y="5875148"/>
                </a:cubicBezTo>
                <a:cubicBezTo>
                  <a:pt x="6615813" y="5976336"/>
                  <a:pt x="6615813" y="5976336"/>
                  <a:pt x="6615813" y="5976336"/>
                </a:cubicBezTo>
                <a:cubicBezTo>
                  <a:pt x="6615813" y="5980466"/>
                  <a:pt x="6613752" y="5982531"/>
                  <a:pt x="6611692" y="5984596"/>
                </a:cubicBezTo>
                <a:cubicBezTo>
                  <a:pt x="6607571" y="5986661"/>
                  <a:pt x="6605510" y="5986661"/>
                  <a:pt x="6601390" y="5984596"/>
                </a:cubicBezTo>
                <a:cubicBezTo>
                  <a:pt x="6510730" y="5939165"/>
                  <a:pt x="6510730" y="5939165"/>
                  <a:pt x="6510730" y="5939165"/>
                </a:cubicBezTo>
                <a:cubicBezTo>
                  <a:pt x="6506610" y="5939165"/>
                  <a:pt x="6504549" y="5937100"/>
                  <a:pt x="6502489" y="5932970"/>
                </a:cubicBezTo>
                <a:cubicBezTo>
                  <a:pt x="6502489" y="5930904"/>
                  <a:pt x="6504549" y="5928840"/>
                  <a:pt x="6506610" y="5926774"/>
                </a:cubicBezTo>
                <a:cubicBezTo>
                  <a:pt x="6537516" y="5893734"/>
                  <a:pt x="6570483" y="5875148"/>
                  <a:pt x="6613752" y="5864823"/>
                </a:cubicBezTo>
                <a:cubicBezTo>
                  <a:pt x="6614782" y="5864823"/>
                  <a:pt x="6616328" y="5864307"/>
                  <a:pt x="6617873" y="5864048"/>
                </a:cubicBezTo>
                <a:close/>
                <a:moveTo>
                  <a:pt x="6649186" y="5828859"/>
                </a:moveTo>
                <a:cubicBezTo>
                  <a:pt x="6529433" y="5828859"/>
                  <a:pt x="6432355" y="5926985"/>
                  <a:pt x="6432355" y="6048029"/>
                </a:cubicBezTo>
                <a:cubicBezTo>
                  <a:pt x="6432355" y="6169072"/>
                  <a:pt x="6529433" y="6267198"/>
                  <a:pt x="6649186" y="6267198"/>
                </a:cubicBezTo>
                <a:cubicBezTo>
                  <a:pt x="6768939" y="6267198"/>
                  <a:pt x="6866018" y="6169072"/>
                  <a:pt x="6866018" y="6048029"/>
                </a:cubicBezTo>
                <a:cubicBezTo>
                  <a:pt x="6866018" y="5926985"/>
                  <a:pt x="6768939" y="5828859"/>
                  <a:pt x="6649186" y="5828859"/>
                </a:cubicBezTo>
                <a:close/>
                <a:moveTo>
                  <a:pt x="6648602" y="5797300"/>
                </a:moveTo>
                <a:cubicBezTo>
                  <a:pt x="6784816" y="5797300"/>
                  <a:pt x="6895240" y="5909032"/>
                  <a:pt x="6895240" y="6046861"/>
                </a:cubicBezTo>
                <a:cubicBezTo>
                  <a:pt x="6895240" y="6184689"/>
                  <a:pt x="6784816" y="6296422"/>
                  <a:pt x="6648602" y="6296422"/>
                </a:cubicBezTo>
                <a:cubicBezTo>
                  <a:pt x="6512387" y="6296422"/>
                  <a:pt x="6401963" y="6184689"/>
                  <a:pt x="6401963" y="6046861"/>
                </a:cubicBezTo>
                <a:cubicBezTo>
                  <a:pt x="6401963" y="5909032"/>
                  <a:pt x="6512387" y="5797300"/>
                  <a:pt x="6648602" y="5797300"/>
                </a:cubicBezTo>
                <a:close/>
                <a:moveTo>
                  <a:pt x="6635678" y="5718724"/>
                </a:moveTo>
                <a:cubicBezTo>
                  <a:pt x="6627452" y="5733273"/>
                  <a:pt x="6623339" y="5751979"/>
                  <a:pt x="6623339" y="5768607"/>
                </a:cubicBezTo>
                <a:cubicBezTo>
                  <a:pt x="6619226" y="5768607"/>
                  <a:pt x="6602773" y="5770685"/>
                  <a:pt x="6600717" y="5772764"/>
                </a:cubicBezTo>
                <a:cubicBezTo>
                  <a:pt x="6594547" y="5754058"/>
                  <a:pt x="6586321" y="5737430"/>
                  <a:pt x="6573982" y="5727038"/>
                </a:cubicBezTo>
                <a:cubicBezTo>
                  <a:pt x="6573982" y="5724959"/>
                  <a:pt x="6573982" y="5724959"/>
                  <a:pt x="6573982" y="5724959"/>
                </a:cubicBezTo>
                <a:cubicBezTo>
                  <a:pt x="6571926" y="5727038"/>
                  <a:pt x="6571926" y="5727038"/>
                  <a:pt x="6571926" y="5727038"/>
                </a:cubicBezTo>
                <a:cubicBezTo>
                  <a:pt x="6565756" y="5727038"/>
                  <a:pt x="6557530" y="5729116"/>
                  <a:pt x="6551360" y="5731195"/>
                </a:cubicBezTo>
                <a:cubicBezTo>
                  <a:pt x="6551360" y="5733273"/>
                  <a:pt x="6551360" y="5733273"/>
                  <a:pt x="6551360" y="5733273"/>
                </a:cubicBezTo>
                <a:cubicBezTo>
                  <a:pt x="6549304" y="5741587"/>
                  <a:pt x="6547247" y="5749901"/>
                  <a:pt x="6547247" y="5758215"/>
                </a:cubicBezTo>
                <a:cubicBezTo>
                  <a:pt x="6547247" y="5768607"/>
                  <a:pt x="6549304" y="5776921"/>
                  <a:pt x="6551360" y="5785235"/>
                </a:cubicBezTo>
                <a:cubicBezTo>
                  <a:pt x="6549304" y="5785235"/>
                  <a:pt x="6532851" y="5793548"/>
                  <a:pt x="6530795" y="5793548"/>
                </a:cubicBezTo>
                <a:cubicBezTo>
                  <a:pt x="6520512" y="5778999"/>
                  <a:pt x="6508173" y="5764450"/>
                  <a:pt x="6493777" y="5758215"/>
                </a:cubicBezTo>
                <a:cubicBezTo>
                  <a:pt x="6493777" y="5756136"/>
                  <a:pt x="6493777" y="5756136"/>
                  <a:pt x="6493777" y="5756136"/>
                </a:cubicBezTo>
                <a:cubicBezTo>
                  <a:pt x="6491721" y="5756136"/>
                  <a:pt x="6491721" y="5756136"/>
                  <a:pt x="6491721" y="5756136"/>
                </a:cubicBezTo>
                <a:cubicBezTo>
                  <a:pt x="6485551" y="5760293"/>
                  <a:pt x="6479382" y="5764450"/>
                  <a:pt x="6473212" y="5768607"/>
                </a:cubicBezTo>
                <a:cubicBezTo>
                  <a:pt x="6473212" y="5768607"/>
                  <a:pt x="6473212" y="5770685"/>
                  <a:pt x="6473212" y="5770685"/>
                </a:cubicBezTo>
                <a:cubicBezTo>
                  <a:pt x="6473212" y="5787313"/>
                  <a:pt x="6477325" y="5803941"/>
                  <a:pt x="6485551" y="5820568"/>
                </a:cubicBezTo>
                <a:cubicBezTo>
                  <a:pt x="6483495" y="5822647"/>
                  <a:pt x="6471156" y="5830961"/>
                  <a:pt x="6469099" y="5833039"/>
                </a:cubicBezTo>
                <a:cubicBezTo>
                  <a:pt x="6456760" y="5820568"/>
                  <a:pt x="6440308" y="5810176"/>
                  <a:pt x="6425911" y="5806019"/>
                </a:cubicBezTo>
                <a:cubicBezTo>
                  <a:pt x="6423855" y="5806019"/>
                  <a:pt x="6423855" y="5806019"/>
                  <a:pt x="6423855" y="5806019"/>
                </a:cubicBezTo>
                <a:cubicBezTo>
                  <a:pt x="6423855" y="5808097"/>
                  <a:pt x="6423855" y="5808097"/>
                  <a:pt x="6423855" y="5808097"/>
                </a:cubicBezTo>
                <a:cubicBezTo>
                  <a:pt x="6417685" y="5810176"/>
                  <a:pt x="6411516" y="5816411"/>
                  <a:pt x="6407402" y="5822647"/>
                </a:cubicBezTo>
                <a:cubicBezTo>
                  <a:pt x="6407402" y="5824725"/>
                  <a:pt x="6407402" y="5824725"/>
                  <a:pt x="6407402" y="5824725"/>
                </a:cubicBezTo>
                <a:cubicBezTo>
                  <a:pt x="6411516" y="5839274"/>
                  <a:pt x="6421798" y="5855902"/>
                  <a:pt x="6434138" y="5870451"/>
                </a:cubicBezTo>
                <a:cubicBezTo>
                  <a:pt x="6432082" y="5870451"/>
                  <a:pt x="6421798" y="5885000"/>
                  <a:pt x="6419742" y="5887079"/>
                </a:cubicBezTo>
                <a:cubicBezTo>
                  <a:pt x="6405346" y="5878765"/>
                  <a:pt x="6386837" y="5874608"/>
                  <a:pt x="6370385" y="5874608"/>
                </a:cubicBezTo>
                <a:cubicBezTo>
                  <a:pt x="6368328" y="5874608"/>
                  <a:pt x="6368328" y="5874608"/>
                  <a:pt x="6368328" y="5874608"/>
                </a:cubicBezTo>
                <a:cubicBezTo>
                  <a:pt x="6364215" y="5878765"/>
                  <a:pt x="6360102" y="5887079"/>
                  <a:pt x="6358046" y="5893314"/>
                </a:cubicBezTo>
                <a:cubicBezTo>
                  <a:pt x="6358046" y="5895393"/>
                  <a:pt x="6358046" y="5895393"/>
                  <a:pt x="6358046" y="5895393"/>
                </a:cubicBezTo>
                <a:cubicBezTo>
                  <a:pt x="6366272" y="5909941"/>
                  <a:pt x="6378611" y="5922412"/>
                  <a:pt x="6395063" y="5932805"/>
                </a:cubicBezTo>
                <a:cubicBezTo>
                  <a:pt x="6393007" y="5934883"/>
                  <a:pt x="6386837" y="5949432"/>
                  <a:pt x="6386837" y="5951511"/>
                </a:cubicBezTo>
                <a:cubicBezTo>
                  <a:pt x="6368328" y="5947354"/>
                  <a:pt x="6349820" y="5947354"/>
                  <a:pt x="6335424" y="5951511"/>
                </a:cubicBezTo>
                <a:cubicBezTo>
                  <a:pt x="6333367" y="5951511"/>
                  <a:pt x="6333367" y="5951511"/>
                  <a:pt x="6333367" y="5951511"/>
                </a:cubicBezTo>
                <a:cubicBezTo>
                  <a:pt x="6333367" y="5953589"/>
                  <a:pt x="6333367" y="5953589"/>
                  <a:pt x="6333367" y="5953589"/>
                </a:cubicBezTo>
                <a:cubicBezTo>
                  <a:pt x="6331311" y="5959825"/>
                  <a:pt x="6329254" y="5968138"/>
                  <a:pt x="6327198" y="5974373"/>
                </a:cubicBezTo>
                <a:cubicBezTo>
                  <a:pt x="6329254" y="5976452"/>
                  <a:pt x="6329254" y="5976452"/>
                  <a:pt x="6329254" y="5976452"/>
                </a:cubicBezTo>
                <a:cubicBezTo>
                  <a:pt x="6339537" y="5986844"/>
                  <a:pt x="6355989" y="5997237"/>
                  <a:pt x="6372441" y="6001393"/>
                </a:cubicBezTo>
                <a:cubicBezTo>
                  <a:pt x="6372441" y="6003472"/>
                  <a:pt x="6370385" y="6022178"/>
                  <a:pt x="6370385" y="6024257"/>
                </a:cubicBezTo>
                <a:cubicBezTo>
                  <a:pt x="6351876" y="6024257"/>
                  <a:pt x="6333367" y="6028413"/>
                  <a:pt x="6321028" y="6036728"/>
                </a:cubicBezTo>
                <a:cubicBezTo>
                  <a:pt x="6318972" y="6036728"/>
                  <a:pt x="6318972" y="6036728"/>
                  <a:pt x="6318972" y="6036728"/>
                </a:cubicBezTo>
                <a:cubicBezTo>
                  <a:pt x="6318972" y="6038805"/>
                  <a:pt x="6318972" y="6038805"/>
                  <a:pt x="6318972" y="6038805"/>
                </a:cubicBezTo>
                <a:cubicBezTo>
                  <a:pt x="6318972" y="6040884"/>
                  <a:pt x="6318972" y="6045041"/>
                  <a:pt x="6318972" y="6049198"/>
                </a:cubicBezTo>
                <a:cubicBezTo>
                  <a:pt x="6318972" y="6053355"/>
                  <a:pt x="6318972" y="6057512"/>
                  <a:pt x="6318972" y="6059590"/>
                </a:cubicBezTo>
                <a:cubicBezTo>
                  <a:pt x="6318972" y="6061669"/>
                  <a:pt x="6318972" y="6061669"/>
                  <a:pt x="6318972" y="6061669"/>
                </a:cubicBezTo>
                <a:cubicBezTo>
                  <a:pt x="6321028" y="6061669"/>
                  <a:pt x="6321028" y="6061669"/>
                  <a:pt x="6321028" y="6061669"/>
                </a:cubicBezTo>
                <a:cubicBezTo>
                  <a:pt x="6333367" y="6069983"/>
                  <a:pt x="6351876" y="6074140"/>
                  <a:pt x="6370385" y="6074140"/>
                </a:cubicBezTo>
                <a:cubicBezTo>
                  <a:pt x="6370385" y="6078296"/>
                  <a:pt x="6372441" y="6094924"/>
                  <a:pt x="6374498" y="6097002"/>
                </a:cubicBezTo>
                <a:cubicBezTo>
                  <a:pt x="6355989" y="6103237"/>
                  <a:pt x="6339537" y="6111551"/>
                  <a:pt x="6329254" y="6124022"/>
                </a:cubicBezTo>
                <a:cubicBezTo>
                  <a:pt x="6327198" y="6124022"/>
                  <a:pt x="6327198" y="6124022"/>
                  <a:pt x="6327198" y="6124022"/>
                </a:cubicBezTo>
                <a:cubicBezTo>
                  <a:pt x="6327198" y="6126101"/>
                  <a:pt x="6327198" y="6126101"/>
                  <a:pt x="6327198" y="6126101"/>
                </a:cubicBezTo>
                <a:cubicBezTo>
                  <a:pt x="6329254" y="6132336"/>
                  <a:pt x="6331311" y="6140650"/>
                  <a:pt x="6333367" y="6146886"/>
                </a:cubicBezTo>
                <a:cubicBezTo>
                  <a:pt x="6335424" y="6146886"/>
                  <a:pt x="6335424" y="6146886"/>
                  <a:pt x="6335424" y="6146886"/>
                </a:cubicBezTo>
                <a:cubicBezTo>
                  <a:pt x="6349820" y="6153121"/>
                  <a:pt x="6370385" y="6151042"/>
                  <a:pt x="6386837" y="6146886"/>
                </a:cubicBezTo>
                <a:cubicBezTo>
                  <a:pt x="6386837" y="6148963"/>
                  <a:pt x="6395063" y="6165592"/>
                  <a:pt x="6395063" y="6167669"/>
                </a:cubicBezTo>
                <a:cubicBezTo>
                  <a:pt x="6380668" y="6175983"/>
                  <a:pt x="6366272" y="6190533"/>
                  <a:pt x="6358046" y="6205082"/>
                </a:cubicBezTo>
                <a:cubicBezTo>
                  <a:pt x="6358046" y="6207160"/>
                  <a:pt x="6358046" y="6207160"/>
                  <a:pt x="6358046" y="6207160"/>
                </a:cubicBezTo>
                <a:cubicBezTo>
                  <a:pt x="6360102" y="6211318"/>
                  <a:pt x="6366272" y="6219631"/>
                  <a:pt x="6370385" y="6225866"/>
                </a:cubicBezTo>
                <a:cubicBezTo>
                  <a:pt x="6386837" y="6225866"/>
                  <a:pt x="6405346" y="6221710"/>
                  <a:pt x="6421798" y="6211318"/>
                </a:cubicBezTo>
                <a:cubicBezTo>
                  <a:pt x="6421798" y="6213395"/>
                  <a:pt x="6432082" y="6227945"/>
                  <a:pt x="6434138" y="6230024"/>
                </a:cubicBezTo>
                <a:cubicBezTo>
                  <a:pt x="6421798" y="6242494"/>
                  <a:pt x="6411516" y="6259121"/>
                  <a:pt x="6407402" y="6275750"/>
                </a:cubicBezTo>
                <a:cubicBezTo>
                  <a:pt x="6409459" y="6277827"/>
                  <a:pt x="6409459" y="6277827"/>
                  <a:pt x="6409459" y="6277827"/>
                </a:cubicBezTo>
                <a:cubicBezTo>
                  <a:pt x="6411516" y="6281985"/>
                  <a:pt x="6419742" y="6288220"/>
                  <a:pt x="6423855" y="6292377"/>
                </a:cubicBezTo>
                <a:cubicBezTo>
                  <a:pt x="6425911" y="6292377"/>
                  <a:pt x="6425911" y="6292377"/>
                  <a:pt x="6425911" y="6292377"/>
                </a:cubicBezTo>
                <a:cubicBezTo>
                  <a:pt x="6440308" y="6288220"/>
                  <a:pt x="6456760" y="6279906"/>
                  <a:pt x="6471156" y="6265357"/>
                </a:cubicBezTo>
                <a:cubicBezTo>
                  <a:pt x="6473212" y="6267436"/>
                  <a:pt x="6485551" y="6277827"/>
                  <a:pt x="6487608" y="6279906"/>
                </a:cubicBezTo>
                <a:cubicBezTo>
                  <a:pt x="6479382" y="6296533"/>
                  <a:pt x="6475269" y="6313162"/>
                  <a:pt x="6475269" y="6329789"/>
                </a:cubicBezTo>
                <a:cubicBezTo>
                  <a:pt x="6475269" y="6329789"/>
                  <a:pt x="6475269" y="6331868"/>
                  <a:pt x="6475269" y="6331868"/>
                </a:cubicBezTo>
                <a:cubicBezTo>
                  <a:pt x="6479382" y="6336024"/>
                  <a:pt x="6487608" y="6340182"/>
                  <a:pt x="6493777" y="6342259"/>
                </a:cubicBezTo>
                <a:cubicBezTo>
                  <a:pt x="6493777" y="6344338"/>
                  <a:pt x="6493777" y="6344338"/>
                  <a:pt x="6493777" y="6344338"/>
                </a:cubicBezTo>
                <a:cubicBezTo>
                  <a:pt x="6495834" y="6342259"/>
                  <a:pt x="6495834" y="6342259"/>
                  <a:pt x="6495834" y="6342259"/>
                </a:cubicBezTo>
                <a:cubicBezTo>
                  <a:pt x="6510230" y="6333946"/>
                  <a:pt x="6522569" y="6321475"/>
                  <a:pt x="6532851" y="6304848"/>
                </a:cubicBezTo>
                <a:cubicBezTo>
                  <a:pt x="6534908" y="6306926"/>
                  <a:pt x="6549304" y="6313162"/>
                  <a:pt x="6551360" y="6313162"/>
                </a:cubicBezTo>
                <a:cubicBezTo>
                  <a:pt x="6549304" y="6321475"/>
                  <a:pt x="6549304" y="6331868"/>
                  <a:pt x="6549304" y="6340182"/>
                </a:cubicBezTo>
                <a:cubicBezTo>
                  <a:pt x="6549304" y="6348495"/>
                  <a:pt x="6549304" y="6358888"/>
                  <a:pt x="6551360" y="6365123"/>
                </a:cubicBezTo>
                <a:cubicBezTo>
                  <a:pt x="6551360" y="6367201"/>
                  <a:pt x="6551360" y="6367201"/>
                  <a:pt x="6551360" y="6367201"/>
                </a:cubicBezTo>
                <a:cubicBezTo>
                  <a:pt x="6553417" y="6367201"/>
                  <a:pt x="6553417" y="6367201"/>
                  <a:pt x="6553417" y="6367201"/>
                </a:cubicBezTo>
                <a:cubicBezTo>
                  <a:pt x="6557530" y="6369280"/>
                  <a:pt x="6567812" y="6371358"/>
                  <a:pt x="6573982" y="6373436"/>
                </a:cubicBezTo>
                <a:cubicBezTo>
                  <a:pt x="6576039" y="6373436"/>
                  <a:pt x="6576039" y="6373436"/>
                  <a:pt x="6576039" y="6373436"/>
                </a:cubicBezTo>
                <a:cubicBezTo>
                  <a:pt x="6586321" y="6360966"/>
                  <a:pt x="6596604" y="6344338"/>
                  <a:pt x="6600717" y="6327711"/>
                </a:cubicBezTo>
                <a:cubicBezTo>
                  <a:pt x="6602773" y="6327711"/>
                  <a:pt x="6621282" y="6329789"/>
                  <a:pt x="6623339" y="6329789"/>
                </a:cubicBezTo>
                <a:cubicBezTo>
                  <a:pt x="6623339" y="6348495"/>
                  <a:pt x="6627452" y="6367201"/>
                  <a:pt x="6635678" y="6381750"/>
                </a:cubicBezTo>
                <a:cubicBezTo>
                  <a:pt x="6637734" y="6381750"/>
                  <a:pt x="6637734" y="6381750"/>
                  <a:pt x="6637734" y="6381750"/>
                </a:cubicBezTo>
                <a:cubicBezTo>
                  <a:pt x="6643904" y="6381750"/>
                  <a:pt x="6654187" y="6381750"/>
                  <a:pt x="6658300" y="6381750"/>
                </a:cubicBezTo>
                <a:cubicBezTo>
                  <a:pt x="6660357" y="6381750"/>
                  <a:pt x="6660357" y="6381750"/>
                  <a:pt x="6660357" y="6381750"/>
                </a:cubicBezTo>
                <a:cubicBezTo>
                  <a:pt x="6668583" y="6367201"/>
                  <a:pt x="6672696" y="6348495"/>
                  <a:pt x="6674753" y="6329789"/>
                </a:cubicBezTo>
                <a:cubicBezTo>
                  <a:pt x="6676809" y="6329789"/>
                  <a:pt x="6693261" y="6327711"/>
                  <a:pt x="6695318" y="6327711"/>
                </a:cubicBezTo>
                <a:cubicBezTo>
                  <a:pt x="6699431" y="6344338"/>
                  <a:pt x="6709714" y="6360966"/>
                  <a:pt x="6722053" y="6373436"/>
                </a:cubicBezTo>
                <a:cubicBezTo>
                  <a:pt x="6728222" y="6371358"/>
                  <a:pt x="6738505" y="6369280"/>
                  <a:pt x="6742618" y="6367201"/>
                </a:cubicBezTo>
                <a:cubicBezTo>
                  <a:pt x="6744675" y="6367201"/>
                  <a:pt x="6744675" y="6367201"/>
                  <a:pt x="6744675" y="6367201"/>
                </a:cubicBezTo>
                <a:cubicBezTo>
                  <a:pt x="6746731" y="6358888"/>
                  <a:pt x="6746731" y="6348495"/>
                  <a:pt x="6746731" y="6340182"/>
                </a:cubicBezTo>
                <a:cubicBezTo>
                  <a:pt x="6746731" y="6331868"/>
                  <a:pt x="6746731" y="6321475"/>
                  <a:pt x="6744675" y="6313162"/>
                </a:cubicBezTo>
                <a:cubicBezTo>
                  <a:pt x="6746731" y="6313162"/>
                  <a:pt x="6763183" y="6306926"/>
                  <a:pt x="6765240" y="6304848"/>
                </a:cubicBezTo>
                <a:cubicBezTo>
                  <a:pt x="6773466" y="6321475"/>
                  <a:pt x="6787862" y="6333946"/>
                  <a:pt x="6802257" y="6342259"/>
                </a:cubicBezTo>
                <a:cubicBezTo>
                  <a:pt x="6808427" y="6340182"/>
                  <a:pt x="6816653" y="6336024"/>
                  <a:pt x="6820766" y="6331868"/>
                </a:cubicBezTo>
                <a:cubicBezTo>
                  <a:pt x="6822823" y="6329789"/>
                  <a:pt x="6822823" y="6329789"/>
                  <a:pt x="6822823" y="6329789"/>
                </a:cubicBezTo>
                <a:cubicBezTo>
                  <a:pt x="6822823" y="6329789"/>
                  <a:pt x="6822823" y="6329789"/>
                  <a:pt x="6822823" y="6327711"/>
                </a:cubicBezTo>
                <a:cubicBezTo>
                  <a:pt x="6822823" y="6313162"/>
                  <a:pt x="6816653" y="6294456"/>
                  <a:pt x="6808427" y="6279906"/>
                </a:cubicBezTo>
                <a:cubicBezTo>
                  <a:pt x="6810484" y="6277827"/>
                  <a:pt x="6822823" y="6267436"/>
                  <a:pt x="6824879" y="6265357"/>
                </a:cubicBezTo>
                <a:cubicBezTo>
                  <a:pt x="6839275" y="6277827"/>
                  <a:pt x="6855727" y="6288220"/>
                  <a:pt x="6870123" y="6292377"/>
                </a:cubicBezTo>
                <a:cubicBezTo>
                  <a:pt x="6872180" y="6292377"/>
                  <a:pt x="6872180" y="6292377"/>
                  <a:pt x="6872180" y="6292377"/>
                </a:cubicBezTo>
                <a:cubicBezTo>
                  <a:pt x="6876293" y="6288220"/>
                  <a:pt x="6884519" y="6281985"/>
                  <a:pt x="6886576" y="6275750"/>
                </a:cubicBezTo>
                <a:cubicBezTo>
                  <a:pt x="6888632" y="6275750"/>
                  <a:pt x="6888632" y="6275750"/>
                  <a:pt x="6888632" y="6275750"/>
                </a:cubicBezTo>
                <a:cubicBezTo>
                  <a:pt x="6884519" y="6259121"/>
                  <a:pt x="6874236" y="6242494"/>
                  <a:pt x="6861897" y="6230024"/>
                </a:cubicBezTo>
                <a:cubicBezTo>
                  <a:pt x="6863954" y="6227945"/>
                  <a:pt x="6874236" y="6213395"/>
                  <a:pt x="6874236" y="6211318"/>
                </a:cubicBezTo>
                <a:cubicBezTo>
                  <a:pt x="6890689" y="6219631"/>
                  <a:pt x="6909198" y="6225866"/>
                  <a:pt x="6925650" y="6225866"/>
                </a:cubicBezTo>
                <a:cubicBezTo>
                  <a:pt x="6927706" y="6223788"/>
                  <a:pt x="6927706" y="6223788"/>
                  <a:pt x="6927706" y="6223788"/>
                </a:cubicBezTo>
                <a:cubicBezTo>
                  <a:pt x="6929763" y="6219631"/>
                  <a:pt x="6935933" y="6211318"/>
                  <a:pt x="6937989" y="6205082"/>
                </a:cubicBezTo>
                <a:cubicBezTo>
                  <a:pt x="6937989" y="6203004"/>
                  <a:pt x="6937989" y="6203004"/>
                  <a:pt x="6937989" y="6203004"/>
                </a:cubicBezTo>
                <a:cubicBezTo>
                  <a:pt x="6929763" y="6190533"/>
                  <a:pt x="6915367" y="6175983"/>
                  <a:pt x="6900972" y="6167669"/>
                </a:cubicBezTo>
                <a:cubicBezTo>
                  <a:pt x="6900972" y="6163513"/>
                  <a:pt x="6909198" y="6148963"/>
                  <a:pt x="6909198" y="6146886"/>
                </a:cubicBezTo>
                <a:cubicBezTo>
                  <a:pt x="6925650" y="6151042"/>
                  <a:pt x="6944159" y="6151042"/>
                  <a:pt x="6960611" y="6146886"/>
                </a:cubicBezTo>
                <a:cubicBezTo>
                  <a:pt x="6962667" y="6146886"/>
                  <a:pt x="6962667" y="6146886"/>
                  <a:pt x="6962667" y="6146886"/>
                </a:cubicBezTo>
                <a:cubicBezTo>
                  <a:pt x="6964724" y="6140650"/>
                  <a:pt x="6966781" y="6132336"/>
                  <a:pt x="6966781" y="6126101"/>
                </a:cubicBezTo>
                <a:cubicBezTo>
                  <a:pt x="6966781" y="6124022"/>
                  <a:pt x="6966781" y="6124022"/>
                  <a:pt x="6966781" y="6124022"/>
                </a:cubicBezTo>
                <a:cubicBezTo>
                  <a:pt x="6956498" y="6111551"/>
                  <a:pt x="6940046" y="6103237"/>
                  <a:pt x="6921537" y="6097002"/>
                </a:cubicBezTo>
                <a:cubicBezTo>
                  <a:pt x="6923593" y="6094924"/>
                  <a:pt x="6925650" y="6078296"/>
                  <a:pt x="6925650" y="6076218"/>
                </a:cubicBezTo>
                <a:cubicBezTo>
                  <a:pt x="6944159" y="6076218"/>
                  <a:pt x="6962667" y="6069983"/>
                  <a:pt x="6975007" y="6061669"/>
                </a:cubicBezTo>
                <a:cubicBezTo>
                  <a:pt x="6977063" y="6061669"/>
                  <a:pt x="6977063" y="6061669"/>
                  <a:pt x="6977063" y="6061669"/>
                </a:cubicBezTo>
                <a:cubicBezTo>
                  <a:pt x="6977063" y="6057512"/>
                  <a:pt x="6977063" y="6053355"/>
                  <a:pt x="6977063" y="6049198"/>
                </a:cubicBezTo>
                <a:cubicBezTo>
                  <a:pt x="6977063" y="6047119"/>
                  <a:pt x="6977063" y="6042963"/>
                  <a:pt x="6977063" y="6038805"/>
                </a:cubicBezTo>
                <a:cubicBezTo>
                  <a:pt x="6975007" y="6038805"/>
                  <a:pt x="6975007" y="6038805"/>
                  <a:pt x="6975007" y="6038805"/>
                </a:cubicBezTo>
                <a:cubicBezTo>
                  <a:pt x="6962667" y="6030492"/>
                  <a:pt x="6944159" y="6024257"/>
                  <a:pt x="6925650" y="6024257"/>
                </a:cubicBezTo>
                <a:cubicBezTo>
                  <a:pt x="6925650" y="6022178"/>
                  <a:pt x="6923593" y="6005551"/>
                  <a:pt x="6923593" y="6003472"/>
                </a:cubicBezTo>
                <a:cubicBezTo>
                  <a:pt x="6940046" y="5997237"/>
                  <a:pt x="6956498" y="5988923"/>
                  <a:pt x="6966781" y="5976452"/>
                </a:cubicBezTo>
                <a:cubicBezTo>
                  <a:pt x="6968837" y="5976452"/>
                  <a:pt x="6968837" y="5976452"/>
                  <a:pt x="6968837" y="5976452"/>
                </a:cubicBezTo>
                <a:cubicBezTo>
                  <a:pt x="6968837" y="5974373"/>
                  <a:pt x="6968837" y="5974373"/>
                  <a:pt x="6968837" y="5974373"/>
                </a:cubicBezTo>
                <a:cubicBezTo>
                  <a:pt x="6966781" y="5968138"/>
                  <a:pt x="6964724" y="5959825"/>
                  <a:pt x="6962667" y="5953589"/>
                </a:cubicBezTo>
                <a:cubicBezTo>
                  <a:pt x="6960611" y="5953589"/>
                  <a:pt x="6960611" y="5953589"/>
                  <a:pt x="6960611" y="5953589"/>
                </a:cubicBezTo>
                <a:cubicBezTo>
                  <a:pt x="6946215" y="5947354"/>
                  <a:pt x="6927706" y="5949432"/>
                  <a:pt x="6909198" y="5953589"/>
                </a:cubicBezTo>
                <a:cubicBezTo>
                  <a:pt x="6909198" y="5951511"/>
                  <a:pt x="6903028" y="5934883"/>
                  <a:pt x="6900972" y="5932805"/>
                </a:cubicBezTo>
                <a:cubicBezTo>
                  <a:pt x="6917424" y="5924491"/>
                  <a:pt x="6929763" y="5909941"/>
                  <a:pt x="6937989" y="5895393"/>
                </a:cubicBezTo>
                <a:cubicBezTo>
                  <a:pt x="6937989" y="5893314"/>
                  <a:pt x="6937989" y="5893314"/>
                  <a:pt x="6937989" y="5893314"/>
                </a:cubicBezTo>
                <a:cubicBezTo>
                  <a:pt x="6935933" y="5889157"/>
                  <a:pt x="6931820" y="5880843"/>
                  <a:pt x="6927706" y="5874608"/>
                </a:cubicBezTo>
                <a:cubicBezTo>
                  <a:pt x="6925650" y="5874608"/>
                  <a:pt x="6925650" y="5874608"/>
                  <a:pt x="6925650" y="5874608"/>
                </a:cubicBezTo>
                <a:cubicBezTo>
                  <a:pt x="6909198" y="5874608"/>
                  <a:pt x="6890689" y="5878765"/>
                  <a:pt x="6876293" y="5887079"/>
                </a:cubicBezTo>
                <a:cubicBezTo>
                  <a:pt x="6874236" y="5887079"/>
                  <a:pt x="6863954" y="5872529"/>
                  <a:pt x="6861897" y="5870451"/>
                </a:cubicBezTo>
                <a:cubicBezTo>
                  <a:pt x="6874236" y="5857980"/>
                  <a:pt x="6884519" y="5841353"/>
                  <a:pt x="6888632" y="5824725"/>
                </a:cubicBezTo>
                <a:cubicBezTo>
                  <a:pt x="6888632" y="5822647"/>
                  <a:pt x="6888632" y="5822647"/>
                  <a:pt x="6888632" y="5822647"/>
                </a:cubicBezTo>
                <a:cubicBezTo>
                  <a:pt x="6884519" y="5818490"/>
                  <a:pt x="6878350" y="5812254"/>
                  <a:pt x="6872180" y="5808097"/>
                </a:cubicBezTo>
                <a:cubicBezTo>
                  <a:pt x="6855727" y="5812254"/>
                  <a:pt x="6839275" y="5820568"/>
                  <a:pt x="6826936" y="5833039"/>
                </a:cubicBezTo>
                <a:cubicBezTo>
                  <a:pt x="6824879" y="5833039"/>
                  <a:pt x="6810484" y="5822647"/>
                  <a:pt x="6808427" y="5820568"/>
                </a:cubicBezTo>
                <a:cubicBezTo>
                  <a:pt x="6818710" y="5803941"/>
                  <a:pt x="6822823" y="5787313"/>
                  <a:pt x="6822823" y="5770685"/>
                </a:cubicBezTo>
                <a:cubicBezTo>
                  <a:pt x="6822823" y="5770685"/>
                  <a:pt x="6822823" y="5768607"/>
                  <a:pt x="6822823" y="5768607"/>
                </a:cubicBezTo>
                <a:cubicBezTo>
                  <a:pt x="6816653" y="5764450"/>
                  <a:pt x="6808427" y="5760293"/>
                  <a:pt x="6804314" y="5758215"/>
                </a:cubicBezTo>
                <a:cubicBezTo>
                  <a:pt x="6802257" y="5756136"/>
                  <a:pt x="6802257" y="5756136"/>
                  <a:pt x="6802257" y="5756136"/>
                </a:cubicBezTo>
                <a:cubicBezTo>
                  <a:pt x="6802257" y="5758215"/>
                  <a:pt x="6802257" y="5758215"/>
                  <a:pt x="6802257" y="5758215"/>
                </a:cubicBezTo>
                <a:cubicBezTo>
                  <a:pt x="6787862" y="5764450"/>
                  <a:pt x="6775523" y="5778999"/>
                  <a:pt x="6765240" y="5793548"/>
                </a:cubicBezTo>
                <a:cubicBezTo>
                  <a:pt x="6763183" y="5793548"/>
                  <a:pt x="6746731" y="5787313"/>
                  <a:pt x="6744675" y="5785235"/>
                </a:cubicBezTo>
                <a:cubicBezTo>
                  <a:pt x="6746731" y="5776921"/>
                  <a:pt x="6748788" y="5768607"/>
                  <a:pt x="6748788" y="5758215"/>
                </a:cubicBezTo>
                <a:cubicBezTo>
                  <a:pt x="6748788" y="5749901"/>
                  <a:pt x="6746731" y="5741587"/>
                  <a:pt x="6744675" y="5733273"/>
                </a:cubicBezTo>
                <a:cubicBezTo>
                  <a:pt x="6744675" y="5731195"/>
                  <a:pt x="6744675" y="5731195"/>
                  <a:pt x="6744675" y="5731195"/>
                </a:cubicBezTo>
                <a:cubicBezTo>
                  <a:pt x="6742618" y="5731195"/>
                  <a:pt x="6742618" y="5731195"/>
                  <a:pt x="6742618" y="5731195"/>
                </a:cubicBezTo>
                <a:cubicBezTo>
                  <a:pt x="6738505" y="5729116"/>
                  <a:pt x="6730279" y="5727038"/>
                  <a:pt x="6722053" y="5727038"/>
                </a:cubicBezTo>
                <a:cubicBezTo>
                  <a:pt x="6709714" y="5737430"/>
                  <a:pt x="6699431" y="5754058"/>
                  <a:pt x="6695318" y="5772764"/>
                </a:cubicBezTo>
                <a:cubicBezTo>
                  <a:pt x="6693261" y="5770685"/>
                  <a:pt x="6676809" y="5768607"/>
                  <a:pt x="6672696" y="5768607"/>
                </a:cubicBezTo>
                <a:cubicBezTo>
                  <a:pt x="6672696" y="5751979"/>
                  <a:pt x="6668583" y="5733273"/>
                  <a:pt x="6660357" y="5718724"/>
                </a:cubicBezTo>
                <a:cubicBezTo>
                  <a:pt x="6658300" y="5718724"/>
                  <a:pt x="6658300" y="5718724"/>
                  <a:pt x="6658300" y="5718724"/>
                </a:cubicBezTo>
                <a:cubicBezTo>
                  <a:pt x="6652131" y="5716645"/>
                  <a:pt x="6643904" y="5716645"/>
                  <a:pt x="6637734" y="5718724"/>
                </a:cubicBezTo>
                <a:cubicBezTo>
                  <a:pt x="6635678" y="5718724"/>
                  <a:pt x="6635678" y="5718724"/>
                  <a:pt x="6635678" y="5718724"/>
                </a:cubicBezTo>
                <a:close/>
                <a:moveTo>
                  <a:pt x="0" y="0"/>
                </a:moveTo>
                <a:lnTo>
                  <a:pt x="12192000" y="0"/>
                </a:lnTo>
                <a:lnTo>
                  <a:pt x="12192000" y="6858000"/>
                </a:lnTo>
                <a:lnTo>
                  <a:pt x="4539049" y="6858000"/>
                </a:lnTo>
                <a:lnTo>
                  <a:pt x="0" y="6858000"/>
                </a:lnTo>
                <a:lnTo>
                  <a:pt x="0" y="6273113"/>
                </a:lnTo>
                <a:close/>
              </a:path>
            </a:pathLst>
          </a:custGeom>
        </p:spPr>
        <p:txBody>
          <a:bodyPr wrap="square">
            <a:noAutofit/>
          </a:bodyPr>
          <a:lstStyle/>
          <a:p>
            <a:endParaRPr lang="en-US" dirty="0"/>
          </a:p>
        </p:txBody>
      </p:sp>
      <p:sp>
        <p:nvSpPr>
          <p:cNvPr id="7" name="Text Placeholder 6">
            <a:extLst>
              <a:ext uri="{FF2B5EF4-FFF2-40B4-BE49-F238E27FC236}">
                <a16:creationId xmlns:a16="http://schemas.microsoft.com/office/drawing/2014/main" id="{23834558-27F1-4188-B277-0880D2CE052B}"/>
              </a:ext>
            </a:extLst>
          </p:cNvPr>
          <p:cNvSpPr>
            <a:spLocks noGrp="1"/>
          </p:cNvSpPr>
          <p:nvPr>
            <p:ph type="body" sz="quarter" idx="14" hasCustomPrompt="1"/>
          </p:nvPr>
        </p:nvSpPr>
        <p:spPr>
          <a:xfrm>
            <a:off x="0" y="0"/>
            <a:ext cx="12192000" cy="6858000"/>
          </a:xfrm>
          <a:custGeom>
            <a:avLst/>
            <a:gdLst>
              <a:gd name="connsiteX0" fmla="*/ 6602777 w 12192000"/>
              <a:gd name="connsiteY0" fmla="*/ 6116155 h 6858000"/>
              <a:gd name="connsiteX1" fmla="*/ 6612980 w 12192000"/>
              <a:gd name="connsiteY1" fmla="*/ 6116155 h 6858000"/>
              <a:gd name="connsiteX2" fmla="*/ 6617061 w 12192000"/>
              <a:gd name="connsiteY2" fmla="*/ 6124493 h 6858000"/>
              <a:gd name="connsiteX3" fmla="*/ 6623183 w 12192000"/>
              <a:gd name="connsiteY3" fmla="*/ 6226637 h 6858000"/>
              <a:gd name="connsiteX4" fmla="*/ 6621142 w 12192000"/>
              <a:gd name="connsiteY4" fmla="*/ 6237059 h 6858000"/>
              <a:gd name="connsiteX5" fmla="*/ 6615021 w 12192000"/>
              <a:gd name="connsiteY5" fmla="*/ 6237059 h 6858000"/>
              <a:gd name="connsiteX6" fmla="*/ 6508908 w 12192000"/>
              <a:gd name="connsiteY6" fmla="*/ 6174523 h 6858000"/>
              <a:gd name="connsiteX7" fmla="*/ 6504827 w 12192000"/>
              <a:gd name="connsiteY7" fmla="*/ 6168270 h 6858000"/>
              <a:gd name="connsiteX8" fmla="*/ 6504827 w 12192000"/>
              <a:gd name="connsiteY8" fmla="*/ 6166184 h 6858000"/>
              <a:gd name="connsiteX9" fmla="*/ 6510948 w 12192000"/>
              <a:gd name="connsiteY9" fmla="*/ 6162015 h 6858000"/>
              <a:gd name="connsiteX10" fmla="*/ 6602777 w 12192000"/>
              <a:gd name="connsiteY10" fmla="*/ 6116155 h 6858000"/>
              <a:gd name="connsiteX11" fmla="*/ 6685511 w 12192000"/>
              <a:gd name="connsiteY11" fmla="*/ 6114071 h 6858000"/>
              <a:gd name="connsiteX12" fmla="*/ 6695813 w 12192000"/>
              <a:gd name="connsiteY12" fmla="*/ 6114071 h 6858000"/>
              <a:gd name="connsiteX13" fmla="*/ 6786472 w 12192000"/>
              <a:gd name="connsiteY13" fmla="*/ 6159837 h 6858000"/>
              <a:gd name="connsiteX14" fmla="*/ 6794714 w 12192000"/>
              <a:gd name="connsiteY14" fmla="*/ 6166078 h 6858000"/>
              <a:gd name="connsiteX15" fmla="*/ 6790593 w 12192000"/>
              <a:gd name="connsiteY15" fmla="*/ 6172318 h 6858000"/>
              <a:gd name="connsiteX16" fmla="*/ 6683451 w 12192000"/>
              <a:gd name="connsiteY16" fmla="*/ 6234726 h 6858000"/>
              <a:gd name="connsiteX17" fmla="*/ 6675208 w 12192000"/>
              <a:gd name="connsiteY17" fmla="*/ 6234726 h 6858000"/>
              <a:gd name="connsiteX18" fmla="*/ 6673148 w 12192000"/>
              <a:gd name="connsiteY18" fmla="*/ 6226405 h 6858000"/>
              <a:gd name="connsiteX19" fmla="*/ 6681390 w 12192000"/>
              <a:gd name="connsiteY19" fmla="*/ 6122392 h 6858000"/>
              <a:gd name="connsiteX20" fmla="*/ 6685511 w 12192000"/>
              <a:gd name="connsiteY20" fmla="*/ 6114071 h 6858000"/>
              <a:gd name="connsiteX21" fmla="*/ 5867776 w 12192000"/>
              <a:gd name="connsiteY21" fmla="*/ 6074328 h 6858000"/>
              <a:gd name="connsiteX22" fmla="*/ 5867776 w 12192000"/>
              <a:gd name="connsiteY22" fmla="*/ 6117531 h 6858000"/>
              <a:gd name="connsiteX23" fmla="*/ 5819888 w 12192000"/>
              <a:gd name="connsiteY23" fmla="*/ 6125760 h 6858000"/>
              <a:gd name="connsiteX24" fmla="*/ 5801149 w 12192000"/>
              <a:gd name="connsiteY24" fmla="*/ 6101073 h 6858000"/>
              <a:gd name="connsiteX25" fmla="*/ 5826134 w 12192000"/>
              <a:gd name="connsiteY25" fmla="*/ 6076386 h 6858000"/>
              <a:gd name="connsiteX26" fmla="*/ 5518276 w 12192000"/>
              <a:gd name="connsiteY26" fmla="*/ 6004194 h 6858000"/>
              <a:gd name="connsiteX27" fmla="*/ 5559186 w 12192000"/>
              <a:gd name="connsiteY27" fmla="*/ 6064393 h 6858000"/>
              <a:gd name="connsiteX28" fmla="*/ 5518276 w 12192000"/>
              <a:gd name="connsiteY28" fmla="*/ 6124591 h 6858000"/>
              <a:gd name="connsiteX29" fmla="*/ 5477363 w 12192000"/>
              <a:gd name="connsiteY29" fmla="*/ 6064393 h 6858000"/>
              <a:gd name="connsiteX30" fmla="*/ 5518276 w 12192000"/>
              <a:gd name="connsiteY30" fmla="*/ 6004194 h 6858000"/>
              <a:gd name="connsiteX31" fmla="*/ 6672498 w 12192000"/>
              <a:gd name="connsiteY31" fmla="*/ 5995882 h 6858000"/>
              <a:gd name="connsiteX32" fmla="*/ 6681491 w 12192000"/>
              <a:gd name="connsiteY32" fmla="*/ 5996921 h 6858000"/>
              <a:gd name="connsiteX33" fmla="*/ 6708215 w 12192000"/>
              <a:gd name="connsiteY33" fmla="*/ 6048872 h 6858000"/>
              <a:gd name="connsiteX34" fmla="*/ 6648601 w 12192000"/>
              <a:gd name="connsiteY34" fmla="*/ 6107057 h 6858000"/>
              <a:gd name="connsiteX35" fmla="*/ 6588987 w 12192000"/>
              <a:gd name="connsiteY35" fmla="*/ 6048872 h 6858000"/>
              <a:gd name="connsiteX36" fmla="*/ 6615711 w 12192000"/>
              <a:gd name="connsiteY36" fmla="*/ 5999000 h 6858000"/>
              <a:gd name="connsiteX37" fmla="*/ 6632156 w 12192000"/>
              <a:gd name="connsiteY37" fmla="*/ 6001077 h 6858000"/>
              <a:gd name="connsiteX38" fmla="*/ 6630100 w 12192000"/>
              <a:gd name="connsiteY38" fmla="*/ 6017702 h 6858000"/>
              <a:gd name="connsiteX39" fmla="*/ 6613655 w 12192000"/>
              <a:gd name="connsiteY39" fmla="*/ 6048872 h 6858000"/>
              <a:gd name="connsiteX40" fmla="*/ 6648601 w 12192000"/>
              <a:gd name="connsiteY40" fmla="*/ 6084199 h 6858000"/>
              <a:gd name="connsiteX41" fmla="*/ 6683547 w 12192000"/>
              <a:gd name="connsiteY41" fmla="*/ 6048872 h 6858000"/>
              <a:gd name="connsiteX42" fmla="*/ 6667102 w 12192000"/>
              <a:gd name="connsiteY42" fmla="*/ 6017702 h 6858000"/>
              <a:gd name="connsiteX43" fmla="*/ 6665047 w 12192000"/>
              <a:gd name="connsiteY43" fmla="*/ 6001077 h 6858000"/>
              <a:gd name="connsiteX44" fmla="*/ 6672498 w 12192000"/>
              <a:gd name="connsiteY44" fmla="*/ 5995882 h 6858000"/>
              <a:gd name="connsiteX45" fmla="*/ 6821432 w 12192000"/>
              <a:gd name="connsiteY45" fmla="*/ 5980816 h 6858000"/>
              <a:gd name="connsiteX46" fmla="*/ 6825565 w 12192000"/>
              <a:gd name="connsiteY46" fmla="*/ 5987045 h 6858000"/>
              <a:gd name="connsiteX47" fmla="*/ 6825565 w 12192000"/>
              <a:gd name="connsiteY47" fmla="*/ 6111612 h 6858000"/>
              <a:gd name="connsiteX48" fmla="*/ 6821432 w 12192000"/>
              <a:gd name="connsiteY48" fmla="*/ 6117840 h 6858000"/>
              <a:gd name="connsiteX49" fmla="*/ 6813166 w 12192000"/>
              <a:gd name="connsiteY49" fmla="*/ 6115764 h 6858000"/>
              <a:gd name="connsiteX50" fmla="*/ 6728441 w 12192000"/>
              <a:gd name="connsiteY50" fmla="*/ 6057632 h 6858000"/>
              <a:gd name="connsiteX51" fmla="*/ 6722242 w 12192000"/>
              <a:gd name="connsiteY51" fmla="*/ 6049328 h 6858000"/>
              <a:gd name="connsiteX52" fmla="*/ 6728441 w 12192000"/>
              <a:gd name="connsiteY52" fmla="*/ 6041024 h 6858000"/>
              <a:gd name="connsiteX53" fmla="*/ 6813166 w 12192000"/>
              <a:gd name="connsiteY53" fmla="*/ 5982893 h 6858000"/>
              <a:gd name="connsiteX54" fmla="*/ 6821432 w 12192000"/>
              <a:gd name="connsiteY54" fmla="*/ 5980816 h 6858000"/>
              <a:gd name="connsiteX55" fmla="*/ 6475604 w 12192000"/>
              <a:gd name="connsiteY55" fmla="*/ 5980816 h 6858000"/>
              <a:gd name="connsiteX56" fmla="*/ 6483787 w 12192000"/>
              <a:gd name="connsiteY56" fmla="*/ 5984968 h 6858000"/>
              <a:gd name="connsiteX57" fmla="*/ 6567656 w 12192000"/>
              <a:gd name="connsiteY57" fmla="*/ 6041024 h 6858000"/>
              <a:gd name="connsiteX58" fmla="*/ 6573792 w 12192000"/>
              <a:gd name="connsiteY58" fmla="*/ 6049328 h 6858000"/>
              <a:gd name="connsiteX59" fmla="*/ 6567656 w 12192000"/>
              <a:gd name="connsiteY59" fmla="*/ 6057632 h 6858000"/>
              <a:gd name="connsiteX60" fmla="*/ 6483787 w 12192000"/>
              <a:gd name="connsiteY60" fmla="*/ 6115764 h 6858000"/>
              <a:gd name="connsiteX61" fmla="*/ 6475604 w 12192000"/>
              <a:gd name="connsiteY61" fmla="*/ 6117840 h 6858000"/>
              <a:gd name="connsiteX62" fmla="*/ 6471513 w 12192000"/>
              <a:gd name="connsiteY62" fmla="*/ 6111612 h 6858000"/>
              <a:gd name="connsiteX63" fmla="*/ 6471513 w 12192000"/>
              <a:gd name="connsiteY63" fmla="*/ 5987045 h 6858000"/>
              <a:gd name="connsiteX64" fmla="*/ 6475604 w 12192000"/>
              <a:gd name="connsiteY64" fmla="*/ 5980816 h 6858000"/>
              <a:gd name="connsiteX65" fmla="*/ 6087559 w 12192000"/>
              <a:gd name="connsiteY65" fmla="*/ 5970296 h 6858000"/>
              <a:gd name="connsiteX66" fmla="*/ 6081400 w 12192000"/>
              <a:gd name="connsiteY66" fmla="*/ 5972374 h 6858000"/>
              <a:gd name="connsiteX67" fmla="*/ 6079347 w 12192000"/>
              <a:gd name="connsiteY67" fmla="*/ 5978604 h 6858000"/>
              <a:gd name="connsiteX68" fmla="*/ 6120408 w 12192000"/>
              <a:gd name="connsiteY68" fmla="*/ 6136455 h 6858000"/>
              <a:gd name="connsiteX69" fmla="*/ 6145045 w 12192000"/>
              <a:gd name="connsiteY69" fmla="*/ 6157224 h 6858000"/>
              <a:gd name="connsiteX70" fmla="*/ 6153257 w 12192000"/>
              <a:gd name="connsiteY70" fmla="*/ 6157224 h 6858000"/>
              <a:gd name="connsiteX71" fmla="*/ 6149151 w 12192000"/>
              <a:gd name="connsiteY71" fmla="*/ 6165532 h 6858000"/>
              <a:gd name="connsiteX72" fmla="*/ 6149151 w 12192000"/>
              <a:gd name="connsiteY72" fmla="*/ 6167609 h 6858000"/>
              <a:gd name="connsiteX73" fmla="*/ 6124515 w 12192000"/>
              <a:gd name="connsiteY73" fmla="*/ 6186302 h 6858000"/>
              <a:gd name="connsiteX74" fmla="*/ 6089612 w 12192000"/>
              <a:gd name="connsiteY74" fmla="*/ 6184225 h 6858000"/>
              <a:gd name="connsiteX75" fmla="*/ 6083453 w 12192000"/>
              <a:gd name="connsiteY75" fmla="*/ 6186302 h 6858000"/>
              <a:gd name="connsiteX76" fmla="*/ 6081400 w 12192000"/>
              <a:gd name="connsiteY76" fmla="*/ 6190456 h 6858000"/>
              <a:gd name="connsiteX77" fmla="*/ 6081400 w 12192000"/>
              <a:gd name="connsiteY77" fmla="*/ 6209149 h 6858000"/>
              <a:gd name="connsiteX78" fmla="*/ 6087559 w 12192000"/>
              <a:gd name="connsiteY78" fmla="*/ 6215380 h 6858000"/>
              <a:gd name="connsiteX79" fmla="*/ 6134780 w 12192000"/>
              <a:gd name="connsiteY79" fmla="*/ 6221610 h 6858000"/>
              <a:gd name="connsiteX80" fmla="*/ 6136833 w 12192000"/>
              <a:gd name="connsiteY80" fmla="*/ 6221610 h 6858000"/>
              <a:gd name="connsiteX81" fmla="*/ 6190213 w 12192000"/>
              <a:gd name="connsiteY81" fmla="*/ 6169686 h 6858000"/>
              <a:gd name="connsiteX82" fmla="*/ 6223062 w 12192000"/>
              <a:gd name="connsiteY82" fmla="*/ 6040914 h 6858000"/>
              <a:gd name="connsiteX83" fmla="*/ 6235380 w 12192000"/>
              <a:gd name="connsiteY83" fmla="*/ 5999374 h 6858000"/>
              <a:gd name="connsiteX84" fmla="*/ 6239487 w 12192000"/>
              <a:gd name="connsiteY84" fmla="*/ 5978604 h 6858000"/>
              <a:gd name="connsiteX85" fmla="*/ 6237434 w 12192000"/>
              <a:gd name="connsiteY85" fmla="*/ 5972374 h 6858000"/>
              <a:gd name="connsiteX86" fmla="*/ 6233327 w 12192000"/>
              <a:gd name="connsiteY86" fmla="*/ 5970296 h 6858000"/>
              <a:gd name="connsiteX87" fmla="*/ 6204584 w 12192000"/>
              <a:gd name="connsiteY87" fmla="*/ 5970296 h 6858000"/>
              <a:gd name="connsiteX88" fmla="*/ 6198425 w 12192000"/>
              <a:gd name="connsiteY88" fmla="*/ 5974451 h 6858000"/>
              <a:gd name="connsiteX89" fmla="*/ 6161469 w 12192000"/>
              <a:gd name="connsiteY89" fmla="*/ 6115685 h 6858000"/>
              <a:gd name="connsiteX90" fmla="*/ 6159417 w 12192000"/>
              <a:gd name="connsiteY90" fmla="*/ 6115685 h 6858000"/>
              <a:gd name="connsiteX91" fmla="*/ 6120408 w 12192000"/>
              <a:gd name="connsiteY91" fmla="*/ 5974451 h 6858000"/>
              <a:gd name="connsiteX92" fmla="*/ 6114249 w 12192000"/>
              <a:gd name="connsiteY92" fmla="*/ 5970296 h 6858000"/>
              <a:gd name="connsiteX93" fmla="*/ 6087559 w 12192000"/>
              <a:gd name="connsiteY93" fmla="*/ 5970296 h 6858000"/>
              <a:gd name="connsiteX94" fmla="*/ 6047787 w 12192000"/>
              <a:gd name="connsiteY94" fmla="*/ 5967959 h 6858000"/>
              <a:gd name="connsiteX95" fmla="*/ 5998692 w 12192000"/>
              <a:gd name="connsiteY95" fmla="*/ 5988768 h 6858000"/>
              <a:gd name="connsiteX96" fmla="*/ 5998692 w 12192000"/>
              <a:gd name="connsiteY96" fmla="*/ 5976283 h 6858000"/>
              <a:gd name="connsiteX97" fmla="*/ 5992556 w 12192000"/>
              <a:gd name="connsiteY97" fmla="*/ 5970040 h 6858000"/>
              <a:gd name="connsiteX98" fmla="*/ 5963918 w 12192000"/>
              <a:gd name="connsiteY98" fmla="*/ 5970040 h 6858000"/>
              <a:gd name="connsiteX99" fmla="*/ 5957781 w 12192000"/>
              <a:gd name="connsiteY99" fmla="*/ 5976283 h 6858000"/>
              <a:gd name="connsiteX100" fmla="*/ 5957781 w 12192000"/>
              <a:gd name="connsiteY100" fmla="*/ 6151078 h 6858000"/>
              <a:gd name="connsiteX101" fmla="*/ 5963918 w 12192000"/>
              <a:gd name="connsiteY101" fmla="*/ 6157321 h 6858000"/>
              <a:gd name="connsiteX102" fmla="*/ 5992556 w 12192000"/>
              <a:gd name="connsiteY102" fmla="*/ 6157321 h 6858000"/>
              <a:gd name="connsiteX103" fmla="*/ 5998692 w 12192000"/>
              <a:gd name="connsiteY103" fmla="*/ 6151078 h 6858000"/>
              <a:gd name="connsiteX104" fmla="*/ 5998692 w 12192000"/>
              <a:gd name="connsiteY104" fmla="*/ 6030386 h 6858000"/>
              <a:gd name="connsiteX105" fmla="*/ 6049832 w 12192000"/>
              <a:gd name="connsiteY105" fmla="*/ 6007496 h 6858000"/>
              <a:gd name="connsiteX106" fmla="*/ 6055969 w 12192000"/>
              <a:gd name="connsiteY106" fmla="*/ 6001253 h 6858000"/>
              <a:gd name="connsiteX107" fmla="*/ 6055969 w 12192000"/>
              <a:gd name="connsiteY107" fmla="*/ 5974202 h 6858000"/>
              <a:gd name="connsiteX108" fmla="*/ 6053923 w 12192000"/>
              <a:gd name="connsiteY108" fmla="*/ 5970040 h 6858000"/>
              <a:gd name="connsiteX109" fmla="*/ 6047787 w 12192000"/>
              <a:gd name="connsiteY109" fmla="*/ 5967959 h 6858000"/>
              <a:gd name="connsiteX110" fmla="*/ 5846879 w 12192000"/>
              <a:gd name="connsiteY110" fmla="*/ 5964452 h 6858000"/>
              <a:gd name="connsiteX111" fmla="*/ 5776523 w 12192000"/>
              <a:gd name="connsiteY111" fmla="*/ 5972770 h 6858000"/>
              <a:gd name="connsiteX112" fmla="*/ 5770315 w 12192000"/>
              <a:gd name="connsiteY112" fmla="*/ 5979008 h 6858000"/>
              <a:gd name="connsiteX113" fmla="*/ 5772384 w 12192000"/>
              <a:gd name="connsiteY113" fmla="*/ 6003961 h 6858000"/>
              <a:gd name="connsiteX114" fmla="*/ 5774454 w 12192000"/>
              <a:gd name="connsiteY114" fmla="*/ 6008120 h 6858000"/>
              <a:gd name="connsiteX115" fmla="*/ 5778592 w 12192000"/>
              <a:gd name="connsiteY115" fmla="*/ 6010199 h 6858000"/>
              <a:gd name="connsiteX116" fmla="*/ 5844809 w 12192000"/>
              <a:gd name="connsiteY116" fmla="*/ 6006040 h 6858000"/>
              <a:gd name="connsiteX117" fmla="*/ 5867571 w 12192000"/>
              <a:gd name="connsiteY117" fmla="*/ 6028914 h 6858000"/>
              <a:gd name="connsiteX118" fmla="*/ 5867571 w 12192000"/>
              <a:gd name="connsiteY118" fmla="*/ 6041390 h 6858000"/>
              <a:gd name="connsiteX119" fmla="*/ 5822047 w 12192000"/>
              <a:gd name="connsiteY119" fmla="*/ 6045549 h 6858000"/>
              <a:gd name="connsiteX120" fmla="*/ 5757900 w 12192000"/>
              <a:gd name="connsiteY120" fmla="*/ 6101693 h 6858000"/>
              <a:gd name="connsiteX121" fmla="*/ 5813770 w 12192000"/>
              <a:gd name="connsiteY121" fmla="*/ 6161996 h 6858000"/>
              <a:gd name="connsiteX122" fmla="*/ 5873779 w 12192000"/>
              <a:gd name="connsiteY122" fmla="*/ 6149520 h 6858000"/>
              <a:gd name="connsiteX123" fmla="*/ 5902750 w 12192000"/>
              <a:gd name="connsiteY123" fmla="*/ 6161996 h 6858000"/>
              <a:gd name="connsiteX124" fmla="*/ 5908957 w 12192000"/>
              <a:gd name="connsiteY124" fmla="*/ 6159917 h 6858000"/>
              <a:gd name="connsiteX125" fmla="*/ 5911026 w 12192000"/>
              <a:gd name="connsiteY125" fmla="*/ 6153679 h 6858000"/>
              <a:gd name="connsiteX126" fmla="*/ 5911026 w 12192000"/>
              <a:gd name="connsiteY126" fmla="*/ 6028914 h 6858000"/>
              <a:gd name="connsiteX127" fmla="*/ 5846879 w 12192000"/>
              <a:gd name="connsiteY127" fmla="*/ 5964452 h 6858000"/>
              <a:gd name="connsiteX128" fmla="*/ 5518274 w 12192000"/>
              <a:gd name="connsiteY128" fmla="*/ 5964452 h 6858000"/>
              <a:gd name="connsiteX129" fmla="*/ 5434114 w 12192000"/>
              <a:gd name="connsiteY129" fmla="*/ 6063224 h 6858000"/>
              <a:gd name="connsiteX130" fmla="*/ 5518274 w 12192000"/>
              <a:gd name="connsiteY130" fmla="*/ 6161996 h 6858000"/>
              <a:gd name="connsiteX131" fmla="*/ 5602435 w 12192000"/>
              <a:gd name="connsiteY131" fmla="*/ 6063224 h 6858000"/>
              <a:gd name="connsiteX132" fmla="*/ 5518274 w 12192000"/>
              <a:gd name="connsiteY132" fmla="*/ 5964452 h 6858000"/>
              <a:gd name="connsiteX133" fmla="*/ 5302320 w 12192000"/>
              <a:gd name="connsiteY133" fmla="*/ 5938736 h 6858000"/>
              <a:gd name="connsiteX134" fmla="*/ 5318685 w 12192000"/>
              <a:gd name="connsiteY134" fmla="*/ 5938736 h 6858000"/>
              <a:gd name="connsiteX135" fmla="*/ 5361642 w 12192000"/>
              <a:gd name="connsiteY135" fmla="*/ 5978478 h 6858000"/>
              <a:gd name="connsiteX136" fmla="*/ 5316640 w 12192000"/>
              <a:gd name="connsiteY136" fmla="*/ 6016129 h 6858000"/>
              <a:gd name="connsiteX137" fmla="*/ 5271637 w 12192000"/>
              <a:gd name="connsiteY137" fmla="*/ 6016129 h 6858000"/>
              <a:gd name="connsiteX138" fmla="*/ 5271637 w 12192000"/>
              <a:gd name="connsiteY138" fmla="*/ 5940828 h 6858000"/>
              <a:gd name="connsiteX139" fmla="*/ 5302320 w 12192000"/>
              <a:gd name="connsiteY139" fmla="*/ 5938736 h 6858000"/>
              <a:gd name="connsiteX140" fmla="*/ 5678557 w 12192000"/>
              <a:gd name="connsiteY140" fmla="*/ 5927047 h 6858000"/>
              <a:gd name="connsiteX141" fmla="*/ 5649847 w 12192000"/>
              <a:gd name="connsiteY141" fmla="*/ 5933291 h 6858000"/>
              <a:gd name="connsiteX142" fmla="*/ 5643695 w 12192000"/>
              <a:gd name="connsiteY142" fmla="*/ 5939535 h 6858000"/>
              <a:gd name="connsiteX143" fmla="*/ 5643695 w 12192000"/>
              <a:gd name="connsiteY143" fmla="*/ 5970757 h 6858000"/>
              <a:gd name="connsiteX144" fmla="*/ 5627290 w 12192000"/>
              <a:gd name="connsiteY144" fmla="*/ 5970757 h 6858000"/>
              <a:gd name="connsiteX145" fmla="*/ 5621138 w 12192000"/>
              <a:gd name="connsiteY145" fmla="*/ 5977002 h 6858000"/>
              <a:gd name="connsiteX146" fmla="*/ 5621138 w 12192000"/>
              <a:gd name="connsiteY146" fmla="*/ 6001980 h 6858000"/>
              <a:gd name="connsiteX147" fmla="*/ 5627290 w 12192000"/>
              <a:gd name="connsiteY147" fmla="*/ 6008224 h 6858000"/>
              <a:gd name="connsiteX148" fmla="*/ 5643695 w 12192000"/>
              <a:gd name="connsiteY148" fmla="*/ 6008224 h 6858000"/>
              <a:gd name="connsiteX149" fmla="*/ 5643695 w 12192000"/>
              <a:gd name="connsiteY149" fmla="*/ 6091483 h 6858000"/>
              <a:gd name="connsiteX150" fmla="*/ 5699064 w 12192000"/>
              <a:gd name="connsiteY150" fmla="*/ 6164334 h 6858000"/>
              <a:gd name="connsiteX151" fmla="*/ 5731875 w 12192000"/>
              <a:gd name="connsiteY151" fmla="*/ 6160171 h 6858000"/>
              <a:gd name="connsiteX152" fmla="*/ 5738028 w 12192000"/>
              <a:gd name="connsiteY152" fmla="*/ 6151845 h 6858000"/>
              <a:gd name="connsiteX153" fmla="*/ 5735977 w 12192000"/>
              <a:gd name="connsiteY153" fmla="*/ 6128949 h 6858000"/>
              <a:gd name="connsiteX154" fmla="*/ 5729824 w 12192000"/>
              <a:gd name="connsiteY154" fmla="*/ 6120623 h 6858000"/>
              <a:gd name="connsiteX155" fmla="*/ 5705217 w 12192000"/>
              <a:gd name="connsiteY155" fmla="*/ 6122705 h 6858000"/>
              <a:gd name="connsiteX156" fmla="*/ 5686761 w 12192000"/>
              <a:gd name="connsiteY156" fmla="*/ 6085238 h 6858000"/>
              <a:gd name="connsiteX157" fmla="*/ 5686761 w 12192000"/>
              <a:gd name="connsiteY157" fmla="*/ 6008224 h 6858000"/>
              <a:gd name="connsiteX158" fmla="*/ 5729824 w 12192000"/>
              <a:gd name="connsiteY158" fmla="*/ 6008224 h 6858000"/>
              <a:gd name="connsiteX159" fmla="*/ 5735977 w 12192000"/>
              <a:gd name="connsiteY159" fmla="*/ 6001980 h 6858000"/>
              <a:gd name="connsiteX160" fmla="*/ 5735977 w 12192000"/>
              <a:gd name="connsiteY160" fmla="*/ 5977002 h 6858000"/>
              <a:gd name="connsiteX161" fmla="*/ 5729824 w 12192000"/>
              <a:gd name="connsiteY161" fmla="*/ 5970757 h 6858000"/>
              <a:gd name="connsiteX162" fmla="*/ 5686761 w 12192000"/>
              <a:gd name="connsiteY162" fmla="*/ 5970757 h 6858000"/>
              <a:gd name="connsiteX163" fmla="*/ 5686761 w 12192000"/>
              <a:gd name="connsiteY163" fmla="*/ 5933291 h 6858000"/>
              <a:gd name="connsiteX164" fmla="*/ 5684709 w 12192000"/>
              <a:gd name="connsiteY164" fmla="*/ 5927047 h 6858000"/>
              <a:gd name="connsiteX165" fmla="*/ 5678557 w 12192000"/>
              <a:gd name="connsiteY165" fmla="*/ 5927047 h 6858000"/>
              <a:gd name="connsiteX166" fmla="*/ 5312653 w 12192000"/>
              <a:gd name="connsiteY166" fmla="*/ 5897825 h 6858000"/>
              <a:gd name="connsiteX167" fmla="*/ 5232236 w 12192000"/>
              <a:gd name="connsiteY167" fmla="*/ 5901977 h 6858000"/>
              <a:gd name="connsiteX168" fmla="*/ 5226049 w 12192000"/>
              <a:gd name="connsiteY168" fmla="*/ 5910281 h 6858000"/>
              <a:gd name="connsiteX169" fmla="*/ 5226049 w 12192000"/>
              <a:gd name="connsiteY169" fmla="*/ 6151093 h 6858000"/>
              <a:gd name="connsiteX170" fmla="*/ 5234297 w 12192000"/>
              <a:gd name="connsiteY170" fmla="*/ 6157321 h 6858000"/>
              <a:gd name="connsiteX171" fmla="*/ 5263165 w 12192000"/>
              <a:gd name="connsiteY171" fmla="*/ 6157321 h 6858000"/>
              <a:gd name="connsiteX172" fmla="*/ 5271414 w 12192000"/>
              <a:gd name="connsiteY172" fmla="*/ 6151093 h 6858000"/>
              <a:gd name="connsiteX173" fmla="*/ 5271414 w 12192000"/>
              <a:gd name="connsiteY173" fmla="*/ 6055599 h 6858000"/>
              <a:gd name="connsiteX174" fmla="*/ 5320901 w 12192000"/>
              <a:gd name="connsiteY174" fmla="*/ 6057674 h 6858000"/>
              <a:gd name="connsiteX175" fmla="*/ 5362142 w 12192000"/>
              <a:gd name="connsiteY175" fmla="*/ 6153168 h 6858000"/>
              <a:gd name="connsiteX176" fmla="*/ 5368327 w 12192000"/>
              <a:gd name="connsiteY176" fmla="*/ 6157321 h 6858000"/>
              <a:gd name="connsiteX177" fmla="*/ 5401320 w 12192000"/>
              <a:gd name="connsiteY177" fmla="*/ 6157321 h 6858000"/>
              <a:gd name="connsiteX178" fmla="*/ 5407505 w 12192000"/>
              <a:gd name="connsiteY178" fmla="*/ 6155245 h 6858000"/>
              <a:gd name="connsiteX179" fmla="*/ 5409567 w 12192000"/>
              <a:gd name="connsiteY179" fmla="*/ 6149017 h 6858000"/>
              <a:gd name="connsiteX180" fmla="*/ 5362142 w 12192000"/>
              <a:gd name="connsiteY180" fmla="*/ 6045219 h 6858000"/>
              <a:gd name="connsiteX181" fmla="*/ 5407505 w 12192000"/>
              <a:gd name="connsiteY181" fmla="*/ 5976711 h 6858000"/>
              <a:gd name="connsiteX182" fmla="*/ 5318839 w 12192000"/>
              <a:gd name="connsiteY182" fmla="*/ 5897825 h 6858000"/>
              <a:gd name="connsiteX183" fmla="*/ 5312653 w 12192000"/>
              <a:gd name="connsiteY183" fmla="*/ 5897825 h 6858000"/>
              <a:gd name="connsiteX184" fmla="*/ 6675208 w 12192000"/>
              <a:gd name="connsiteY184" fmla="*/ 5864819 h 6858000"/>
              <a:gd name="connsiteX185" fmla="*/ 6683451 w 12192000"/>
              <a:gd name="connsiteY185" fmla="*/ 5864819 h 6858000"/>
              <a:gd name="connsiteX186" fmla="*/ 6790593 w 12192000"/>
              <a:gd name="connsiteY186" fmla="*/ 5926632 h 6858000"/>
              <a:gd name="connsiteX187" fmla="*/ 6794714 w 12192000"/>
              <a:gd name="connsiteY187" fmla="*/ 5932813 h 6858000"/>
              <a:gd name="connsiteX188" fmla="*/ 6786472 w 12192000"/>
              <a:gd name="connsiteY188" fmla="*/ 5938994 h 6858000"/>
              <a:gd name="connsiteX189" fmla="*/ 6695813 w 12192000"/>
              <a:gd name="connsiteY189" fmla="*/ 5982263 h 6858000"/>
              <a:gd name="connsiteX190" fmla="*/ 6685511 w 12192000"/>
              <a:gd name="connsiteY190" fmla="*/ 5984323 h 6858000"/>
              <a:gd name="connsiteX191" fmla="*/ 6681390 w 12192000"/>
              <a:gd name="connsiteY191" fmla="*/ 5974021 h 6858000"/>
              <a:gd name="connsiteX192" fmla="*/ 6673148 w 12192000"/>
              <a:gd name="connsiteY192" fmla="*/ 5873060 h 6858000"/>
              <a:gd name="connsiteX193" fmla="*/ 6675208 w 12192000"/>
              <a:gd name="connsiteY193" fmla="*/ 5864819 h 6858000"/>
              <a:gd name="connsiteX194" fmla="*/ 6617873 w 12192000"/>
              <a:gd name="connsiteY194" fmla="*/ 5864048 h 6858000"/>
              <a:gd name="connsiteX195" fmla="*/ 6621994 w 12192000"/>
              <a:gd name="connsiteY195" fmla="*/ 5864823 h 6858000"/>
              <a:gd name="connsiteX196" fmla="*/ 6624054 w 12192000"/>
              <a:gd name="connsiteY196" fmla="*/ 5875148 h 6858000"/>
              <a:gd name="connsiteX197" fmla="*/ 6615813 w 12192000"/>
              <a:gd name="connsiteY197" fmla="*/ 5976336 h 6858000"/>
              <a:gd name="connsiteX198" fmla="*/ 6611692 w 12192000"/>
              <a:gd name="connsiteY198" fmla="*/ 5984596 h 6858000"/>
              <a:gd name="connsiteX199" fmla="*/ 6601390 w 12192000"/>
              <a:gd name="connsiteY199" fmla="*/ 5984596 h 6858000"/>
              <a:gd name="connsiteX200" fmla="*/ 6510730 w 12192000"/>
              <a:gd name="connsiteY200" fmla="*/ 5939165 h 6858000"/>
              <a:gd name="connsiteX201" fmla="*/ 6502489 w 12192000"/>
              <a:gd name="connsiteY201" fmla="*/ 5932970 h 6858000"/>
              <a:gd name="connsiteX202" fmla="*/ 6506610 w 12192000"/>
              <a:gd name="connsiteY202" fmla="*/ 5926774 h 6858000"/>
              <a:gd name="connsiteX203" fmla="*/ 6613752 w 12192000"/>
              <a:gd name="connsiteY203" fmla="*/ 5864823 h 6858000"/>
              <a:gd name="connsiteX204" fmla="*/ 6617873 w 12192000"/>
              <a:gd name="connsiteY204" fmla="*/ 5864048 h 6858000"/>
              <a:gd name="connsiteX205" fmla="*/ 6649186 w 12192000"/>
              <a:gd name="connsiteY205" fmla="*/ 5828859 h 6858000"/>
              <a:gd name="connsiteX206" fmla="*/ 6432355 w 12192000"/>
              <a:gd name="connsiteY206" fmla="*/ 6048029 h 6858000"/>
              <a:gd name="connsiteX207" fmla="*/ 6649186 w 12192000"/>
              <a:gd name="connsiteY207" fmla="*/ 6267198 h 6858000"/>
              <a:gd name="connsiteX208" fmla="*/ 6866018 w 12192000"/>
              <a:gd name="connsiteY208" fmla="*/ 6048029 h 6858000"/>
              <a:gd name="connsiteX209" fmla="*/ 6649186 w 12192000"/>
              <a:gd name="connsiteY209" fmla="*/ 5828859 h 6858000"/>
              <a:gd name="connsiteX210" fmla="*/ 6648602 w 12192000"/>
              <a:gd name="connsiteY210" fmla="*/ 5797300 h 6858000"/>
              <a:gd name="connsiteX211" fmla="*/ 6895240 w 12192000"/>
              <a:gd name="connsiteY211" fmla="*/ 6046861 h 6858000"/>
              <a:gd name="connsiteX212" fmla="*/ 6648602 w 12192000"/>
              <a:gd name="connsiteY212" fmla="*/ 6296422 h 6858000"/>
              <a:gd name="connsiteX213" fmla="*/ 6401963 w 12192000"/>
              <a:gd name="connsiteY213" fmla="*/ 6046861 h 6858000"/>
              <a:gd name="connsiteX214" fmla="*/ 6648602 w 12192000"/>
              <a:gd name="connsiteY214" fmla="*/ 5797300 h 6858000"/>
              <a:gd name="connsiteX215" fmla="*/ 6635678 w 12192000"/>
              <a:gd name="connsiteY215" fmla="*/ 5718724 h 6858000"/>
              <a:gd name="connsiteX216" fmla="*/ 6623339 w 12192000"/>
              <a:gd name="connsiteY216" fmla="*/ 5768607 h 6858000"/>
              <a:gd name="connsiteX217" fmla="*/ 6600717 w 12192000"/>
              <a:gd name="connsiteY217" fmla="*/ 5772764 h 6858000"/>
              <a:gd name="connsiteX218" fmla="*/ 6573982 w 12192000"/>
              <a:gd name="connsiteY218" fmla="*/ 5727038 h 6858000"/>
              <a:gd name="connsiteX219" fmla="*/ 6573982 w 12192000"/>
              <a:gd name="connsiteY219" fmla="*/ 5724959 h 6858000"/>
              <a:gd name="connsiteX220" fmla="*/ 6571926 w 12192000"/>
              <a:gd name="connsiteY220" fmla="*/ 5727038 h 6858000"/>
              <a:gd name="connsiteX221" fmla="*/ 6551360 w 12192000"/>
              <a:gd name="connsiteY221" fmla="*/ 5731195 h 6858000"/>
              <a:gd name="connsiteX222" fmla="*/ 6551360 w 12192000"/>
              <a:gd name="connsiteY222" fmla="*/ 5733273 h 6858000"/>
              <a:gd name="connsiteX223" fmla="*/ 6547247 w 12192000"/>
              <a:gd name="connsiteY223" fmla="*/ 5758215 h 6858000"/>
              <a:gd name="connsiteX224" fmla="*/ 6551360 w 12192000"/>
              <a:gd name="connsiteY224" fmla="*/ 5785235 h 6858000"/>
              <a:gd name="connsiteX225" fmla="*/ 6530795 w 12192000"/>
              <a:gd name="connsiteY225" fmla="*/ 5793548 h 6858000"/>
              <a:gd name="connsiteX226" fmla="*/ 6493777 w 12192000"/>
              <a:gd name="connsiteY226" fmla="*/ 5758215 h 6858000"/>
              <a:gd name="connsiteX227" fmla="*/ 6493777 w 12192000"/>
              <a:gd name="connsiteY227" fmla="*/ 5756136 h 6858000"/>
              <a:gd name="connsiteX228" fmla="*/ 6491721 w 12192000"/>
              <a:gd name="connsiteY228" fmla="*/ 5756136 h 6858000"/>
              <a:gd name="connsiteX229" fmla="*/ 6473212 w 12192000"/>
              <a:gd name="connsiteY229" fmla="*/ 5768607 h 6858000"/>
              <a:gd name="connsiteX230" fmla="*/ 6473212 w 12192000"/>
              <a:gd name="connsiteY230" fmla="*/ 5770685 h 6858000"/>
              <a:gd name="connsiteX231" fmla="*/ 6485551 w 12192000"/>
              <a:gd name="connsiteY231" fmla="*/ 5820568 h 6858000"/>
              <a:gd name="connsiteX232" fmla="*/ 6469099 w 12192000"/>
              <a:gd name="connsiteY232" fmla="*/ 5833039 h 6858000"/>
              <a:gd name="connsiteX233" fmla="*/ 6425911 w 12192000"/>
              <a:gd name="connsiteY233" fmla="*/ 5806019 h 6858000"/>
              <a:gd name="connsiteX234" fmla="*/ 6423855 w 12192000"/>
              <a:gd name="connsiteY234" fmla="*/ 5806019 h 6858000"/>
              <a:gd name="connsiteX235" fmla="*/ 6423855 w 12192000"/>
              <a:gd name="connsiteY235" fmla="*/ 5808097 h 6858000"/>
              <a:gd name="connsiteX236" fmla="*/ 6407402 w 12192000"/>
              <a:gd name="connsiteY236" fmla="*/ 5822647 h 6858000"/>
              <a:gd name="connsiteX237" fmla="*/ 6407402 w 12192000"/>
              <a:gd name="connsiteY237" fmla="*/ 5824725 h 6858000"/>
              <a:gd name="connsiteX238" fmla="*/ 6434138 w 12192000"/>
              <a:gd name="connsiteY238" fmla="*/ 5870451 h 6858000"/>
              <a:gd name="connsiteX239" fmla="*/ 6419742 w 12192000"/>
              <a:gd name="connsiteY239" fmla="*/ 5887079 h 6858000"/>
              <a:gd name="connsiteX240" fmla="*/ 6370385 w 12192000"/>
              <a:gd name="connsiteY240" fmla="*/ 5874608 h 6858000"/>
              <a:gd name="connsiteX241" fmla="*/ 6368328 w 12192000"/>
              <a:gd name="connsiteY241" fmla="*/ 5874608 h 6858000"/>
              <a:gd name="connsiteX242" fmla="*/ 6358046 w 12192000"/>
              <a:gd name="connsiteY242" fmla="*/ 5893314 h 6858000"/>
              <a:gd name="connsiteX243" fmla="*/ 6358046 w 12192000"/>
              <a:gd name="connsiteY243" fmla="*/ 5895393 h 6858000"/>
              <a:gd name="connsiteX244" fmla="*/ 6395063 w 12192000"/>
              <a:gd name="connsiteY244" fmla="*/ 5932805 h 6858000"/>
              <a:gd name="connsiteX245" fmla="*/ 6386837 w 12192000"/>
              <a:gd name="connsiteY245" fmla="*/ 5951511 h 6858000"/>
              <a:gd name="connsiteX246" fmla="*/ 6335424 w 12192000"/>
              <a:gd name="connsiteY246" fmla="*/ 5951511 h 6858000"/>
              <a:gd name="connsiteX247" fmla="*/ 6333367 w 12192000"/>
              <a:gd name="connsiteY247" fmla="*/ 5951511 h 6858000"/>
              <a:gd name="connsiteX248" fmla="*/ 6333367 w 12192000"/>
              <a:gd name="connsiteY248" fmla="*/ 5953589 h 6858000"/>
              <a:gd name="connsiteX249" fmla="*/ 6327198 w 12192000"/>
              <a:gd name="connsiteY249" fmla="*/ 5974373 h 6858000"/>
              <a:gd name="connsiteX250" fmla="*/ 6329254 w 12192000"/>
              <a:gd name="connsiteY250" fmla="*/ 5976452 h 6858000"/>
              <a:gd name="connsiteX251" fmla="*/ 6372441 w 12192000"/>
              <a:gd name="connsiteY251" fmla="*/ 6001393 h 6858000"/>
              <a:gd name="connsiteX252" fmla="*/ 6370385 w 12192000"/>
              <a:gd name="connsiteY252" fmla="*/ 6024257 h 6858000"/>
              <a:gd name="connsiteX253" fmla="*/ 6321028 w 12192000"/>
              <a:gd name="connsiteY253" fmla="*/ 6036728 h 6858000"/>
              <a:gd name="connsiteX254" fmla="*/ 6318972 w 12192000"/>
              <a:gd name="connsiteY254" fmla="*/ 6036728 h 6858000"/>
              <a:gd name="connsiteX255" fmla="*/ 6318972 w 12192000"/>
              <a:gd name="connsiteY255" fmla="*/ 6038805 h 6858000"/>
              <a:gd name="connsiteX256" fmla="*/ 6318972 w 12192000"/>
              <a:gd name="connsiteY256" fmla="*/ 6049198 h 6858000"/>
              <a:gd name="connsiteX257" fmla="*/ 6318972 w 12192000"/>
              <a:gd name="connsiteY257" fmla="*/ 6059590 h 6858000"/>
              <a:gd name="connsiteX258" fmla="*/ 6318972 w 12192000"/>
              <a:gd name="connsiteY258" fmla="*/ 6061669 h 6858000"/>
              <a:gd name="connsiteX259" fmla="*/ 6321028 w 12192000"/>
              <a:gd name="connsiteY259" fmla="*/ 6061669 h 6858000"/>
              <a:gd name="connsiteX260" fmla="*/ 6370385 w 12192000"/>
              <a:gd name="connsiteY260" fmla="*/ 6074140 h 6858000"/>
              <a:gd name="connsiteX261" fmla="*/ 6374498 w 12192000"/>
              <a:gd name="connsiteY261" fmla="*/ 6097002 h 6858000"/>
              <a:gd name="connsiteX262" fmla="*/ 6329254 w 12192000"/>
              <a:gd name="connsiteY262" fmla="*/ 6124022 h 6858000"/>
              <a:gd name="connsiteX263" fmla="*/ 6327198 w 12192000"/>
              <a:gd name="connsiteY263" fmla="*/ 6124022 h 6858000"/>
              <a:gd name="connsiteX264" fmla="*/ 6327198 w 12192000"/>
              <a:gd name="connsiteY264" fmla="*/ 6126101 h 6858000"/>
              <a:gd name="connsiteX265" fmla="*/ 6333367 w 12192000"/>
              <a:gd name="connsiteY265" fmla="*/ 6146886 h 6858000"/>
              <a:gd name="connsiteX266" fmla="*/ 6335424 w 12192000"/>
              <a:gd name="connsiteY266" fmla="*/ 6146886 h 6858000"/>
              <a:gd name="connsiteX267" fmla="*/ 6386837 w 12192000"/>
              <a:gd name="connsiteY267" fmla="*/ 6146886 h 6858000"/>
              <a:gd name="connsiteX268" fmla="*/ 6395063 w 12192000"/>
              <a:gd name="connsiteY268" fmla="*/ 6167669 h 6858000"/>
              <a:gd name="connsiteX269" fmla="*/ 6358046 w 12192000"/>
              <a:gd name="connsiteY269" fmla="*/ 6205082 h 6858000"/>
              <a:gd name="connsiteX270" fmla="*/ 6358046 w 12192000"/>
              <a:gd name="connsiteY270" fmla="*/ 6207160 h 6858000"/>
              <a:gd name="connsiteX271" fmla="*/ 6370385 w 12192000"/>
              <a:gd name="connsiteY271" fmla="*/ 6225866 h 6858000"/>
              <a:gd name="connsiteX272" fmla="*/ 6421798 w 12192000"/>
              <a:gd name="connsiteY272" fmla="*/ 6211318 h 6858000"/>
              <a:gd name="connsiteX273" fmla="*/ 6434138 w 12192000"/>
              <a:gd name="connsiteY273" fmla="*/ 6230024 h 6858000"/>
              <a:gd name="connsiteX274" fmla="*/ 6407402 w 12192000"/>
              <a:gd name="connsiteY274" fmla="*/ 6275750 h 6858000"/>
              <a:gd name="connsiteX275" fmla="*/ 6409459 w 12192000"/>
              <a:gd name="connsiteY275" fmla="*/ 6277827 h 6858000"/>
              <a:gd name="connsiteX276" fmla="*/ 6423855 w 12192000"/>
              <a:gd name="connsiteY276" fmla="*/ 6292377 h 6858000"/>
              <a:gd name="connsiteX277" fmla="*/ 6425911 w 12192000"/>
              <a:gd name="connsiteY277" fmla="*/ 6292377 h 6858000"/>
              <a:gd name="connsiteX278" fmla="*/ 6471156 w 12192000"/>
              <a:gd name="connsiteY278" fmla="*/ 6265357 h 6858000"/>
              <a:gd name="connsiteX279" fmla="*/ 6487608 w 12192000"/>
              <a:gd name="connsiteY279" fmla="*/ 6279906 h 6858000"/>
              <a:gd name="connsiteX280" fmla="*/ 6475269 w 12192000"/>
              <a:gd name="connsiteY280" fmla="*/ 6329789 h 6858000"/>
              <a:gd name="connsiteX281" fmla="*/ 6475269 w 12192000"/>
              <a:gd name="connsiteY281" fmla="*/ 6331868 h 6858000"/>
              <a:gd name="connsiteX282" fmla="*/ 6493777 w 12192000"/>
              <a:gd name="connsiteY282" fmla="*/ 6342259 h 6858000"/>
              <a:gd name="connsiteX283" fmla="*/ 6493777 w 12192000"/>
              <a:gd name="connsiteY283" fmla="*/ 6344338 h 6858000"/>
              <a:gd name="connsiteX284" fmla="*/ 6495834 w 12192000"/>
              <a:gd name="connsiteY284" fmla="*/ 6342259 h 6858000"/>
              <a:gd name="connsiteX285" fmla="*/ 6532851 w 12192000"/>
              <a:gd name="connsiteY285" fmla="*/ 6304848 h 6858000"/>
              <a:gd name="connsiteX286" fmla="*/ 6551360 w 12192000"/>
              <a:gd name="connsiteY286" fmla="*/ 6313162 h 6858000"/>
              <a:gd name="connsiteX287" fmla="*/ 6549304 w 12192000"/>
              <a:gd name="connsiteY287" fmla="*/ 6340182 h 6858000"/>
              <a:gd name="connsiteX288" fmla="*/ 6551360 w 12192000"/>
              <a:gd name="connsiteY288" fmla="*/ 6365123 h 6858000"/>
              <a:gd name="connsiteX289" fmla="*/ 6551360 w 12192000"/>
              <a:gd name="connsiteY289" fmla="*/ 6367201 h 6858000"/>
              <a:gd name="connsiteX290" fmla="*/ 6553417 w 12192000"/>
              <a:gd name="connsiteY290" fmla="*/ 6367201 h 6858000"/>
              <a:gd name="connsiteX291" fmla="*/ 6573982 w 12192000"/>
              <a:gd name="connsiteY291" fmla="*/ 6373436 h 6858000"/>
              <a:gd name="connsiteX292" fmla="*/ 6576039 w 12192000"/>
              <a:gd name="connsiteY292" fmla="*/ 6373436 h 6858000"/>
              <a:gd name="connsiteX293" fmla="*/ 6600717 w 12192000"/>
              <a:gd name="connsiteY293" fmla="*/ 6327711 h 6858000"/>
              <a:gd name="connsiteX294" fmla="*/ 6623339 w 12192000"/>
              <a:gd name="connsiteY294" fmla="*/ 6329789 h 6858000"/>
              <a:gd name="connsiteX295" fmla="*/ 6635678 w 12192000"/>
              <a:gd name="connsiteY295" fmla="*/ 6381750 h 6858000"/>
              <a:gd name="connsiteX296" fmla="*/ 6637734 w 12192000"/>
              <a:gd name="connsiteY296" fmla="*/ 6381750 h 6858000"/>
              <a:gd name="connsiteX297" fmla="*/ 6658300 w 12192000"/>
              <a:gd name="connsiteY297" fmla="*/ 6381750 h 6858000"/>
              <a:gd name="connsiteX298" fmla="*/ 6660357 w 12192000"/>
              <a:gd name="connsiteY298" fmla="*/ 6381750 h 6858000"/>
              <a:gd name="connsiteX299" fmla="*/ 6674753 w 12192000"/>
              <a:gd name="connsiteY299" fmla="*/ 6329789 h 6858000"/>
              <a:gd name="connsiteX300" fmla="*/ 6695318 w 12192000"/>
              <a:gd name="connsiteY300" fmla="*/ 6327711 h 6858000"/>
              <a:gd name="connsiteX301" fmla="*/ 6722053 w 12192000"/>
              <a:gd name="connsiteY301" fmla="*/ 6373436 h 6858000"/>
              <a:gd name="connsiteX302" fmla="*/ 6742618 w 12192000"/>
              <a:gd name="connsiteY302" fmla="*/ 6367201 h 6858000"/>
              <a:gd name="connsiteX303" fmla="*/ 6744675 w 12192000"/>
              <a:gd name="connsiteY303" fmla="*/ 6367201 h 6858000"/>
              <a:gd name="connsiteX304" fmla="*/ 6746731 w 12192000"/>
              <a:gd name="connsiteY304" fmla="*/ 6340182 h 6858000"/>
              <a:gd name="connsiteX305" fmla="*/ 6744675 w 12192000"/>
              <a:gd name="connsiteY305" fmla="*/ 6313162 h 6858000"/>
              <a:gd name="connsiteX306" fmla="*/ 6765240 w 12192000"/>
              <a:gd name="connsiteY306" fmla="*/ 6304848 h 6858000"/>
              <a:gd name="connsiteX307" fmla="*/ 6802257 w 12192000"/>
              <a:gd name="connsiteY307" fmla="*/ 6342259 h 6858000"/>
              <a:gd name="connsiteX308" fmla="*/ 6820766 w 12192000"/>
              <a:gd name="connsiteY308" fmla="*/ 6331868 h 6858000"/>
              <a:gd name="connsiteX309" fmla="*/ 6822823 w 12192000"/>
              <a:gd name="connsiteY309" fmla="*/ 6329789 h 6858000"/>
              <a:gd name="connsiteX310" fmla="*/ 6822823 w 12192000"/>
              <a:gd name="connsiteY310" fmla="*/ 6327711 h 6858000"/>
              <a:gd name="connsiteX311" fmla="*/ 6808427 w 12192000"/>
              <a:gd name="connsiteY311" fmla="*/ 6279906 h 6858000"/>
              <a:gd name="connsiteX312" fmla="*/ 6824879 w 12192000"/>
              <a:gd name="connsiteY312" fmla="*/ 6265357 h 6858000"/>
              <a:gd name="connsiteX313" fmla="*/ 6870123 w 12192000"/>
              <a:gd name="connsiteY313" fmla="*/ 6292377 h 6858000"/>
              <a:gd name="connsiteX314" fmla="*/ 6872180 w 12192000"/>
              <a:gd name="connsiteY314" fmla="*/ 6292377 h 6858000"/>
              <a:gd name="connsiteX315" fmla="*/ 6886576 w 12192000"/>
              <a:gd name="connsiteY315" fmla="*/ 6275750 h 6858000"/>
              <a:gd name="connsiteX316" fmla="*/ 6888632 w 12192000"/>
              <a:gd name="connsiteY316" fmla="*/ 6275750 h 6858000"/>
              <a:gd name="connsiteX317" fmla="*/ 6861897 w 12192000"/>
              <a:gd name="connsiteY317" fmla="*/ 6230024 h 6858000"/>
              <a:gd name="connsiteX318" fmla="*/ 6874236 w 12192000"/>
              <a:gd name="connsiteY318" fmla="*/ 6211318 h 6858000"/>
              <a:gd name="connsiteX319" fmla="*/ 6925650 w 12192000"/>
              <a:gd name="connsiteY319" fmla="*/ 6225866 h 6858000"/>
              <a:gd name="connsiteX320" fmla="*/ 6927706 w 12192000"/>
              <a:gd name="connsiteY320" fmla="*/ 6223788 h 6858000"/>
              <a:gd name="connsiteX321" fmla="*/ 6937989 w 12192000"/>
              <a:gd name="connsiteY321" fmla="*/ 6205082 h 6858000"/>
              <a:gd name="connsiteX322" fmla="*/ 6937989 w 12192000"/>
              <a:gd name="connsiteY322" fmla="*/ 6203004 h 6858000"/>
              <a:gd name="connsiteX323" fmla="*/ 6900972 w 12192000"/>
              <a:gd name="connsiteY323" fmla="*/ 6167669 h 6858000"/>
              <a:gd name="connsiteX324" fmla="*/ 6909198 w 12192000"/>
              <a:gd name="connsiteY324" fmla="*/ 6146886 h 6858000"/>
              <a:gd name="connsiteX325" fmla="*/ 6960611 w 12192000"/>
              <a:gd name="connsiteY325" fmla="*/ 6146886 h 6858000"/>
              <a:gd name="connsiteX326" fmla="*/ 6962667 w 12192000"/>
              <a:gd name="connsiteY326" fmla="*/ 6146886 h 6858000"/>
              <a:gd name="connsiteX327" fmla="*/ 6966781 w 12192000"/>
              <a:gd name="connsiteY327" fmla="*/ 6126101 h 6858000"/>
              <a:gd name="connsiteX328" fmla="*/ 6966781 w 12192000"/>
              <a:gd name="connsiteY328" fmla="*/ 6124022 h 6858000"/>
              <a:gd name="connsiteX329" fmla="*/ 6921537 w 12192000"/>
              <a:gd name="connsiteY329" fmla="*/ 6097002 h 6858000"/>
              <a:gd name="connsiteX330" fmla="*/ 6925650 w 12192000"/>
              <a:gd name="connsiteY330" fmla="*/ 6076218 h 6858000"/>
              <a:gd name="connsiteX331" fmla="*/ 6975007 w 12192000"/>
              <a:gd name="connsiteY331" fmla="*/ 6061669 h 6858000"/>
              <a:gd name="connsiteX332" fmla="*/ 6977063 w 12192000"/>
              <a:gd name="connsiteY332" fmla="*/ 6061669 h 6858000"/>
              <a:gd name="connsiteX333" fmla="*/ 6977063 w 12192000"/>
              <a:gd name="connsiteY333" fmla="*/ 6049198 h 6858000"/>
              <a:gd name="connsiteX334" fmla="*/ 6977063 w 12192000"/>
              <a:gd name="connsiteY334" fmla="*/ 6038805 h 6858000"/>
              <a:gd name="connsiteX335" fmla="*/ 6975007 w 12192000"/>
              <a:gd name="connsiteY335" fmla="*/ 6038805 h 6858000"/>
              <a:gd name="connsiteX336" fmla="*/ 6925650 w 12192000"/>
              <a:gd name="connsiteY336" fmla="*/ 6024257 h 6858000"/>
              <a:gd name="connsiteX337" fmla="*/ 6923593 w 12192000"/>
              <a:gd name="connsiteY337" fmla="*/ 6003472 h 6858000"/>
              <a:gd name="connsiteX338" fmla="*/ 6966781 w 12192000"/>
              <a:gd name="connsiteY338" fmla="*/ 5976452 h 6858000"/>
              <a:gd name="connsiteX339" fmla="*/ 6968837 w 12192000"/>
              <a:gd name="connsiteY339" fmla="*/ 5976452 h 6858000"/>
              <a:gd name="connsiteX340" fmla="*/ 6968837 w 12192000"/>
              <a:gd name="connsiteY340" fmla="*/ 5974373 h 6858000"/>
              <a:gd name="connsiteX341" fmla="*/ 6962667 w 12192000"/>
              <a:gd name="connsiteY341" fmla="*/ 5953589 h 6858000"/>
              <a:gd name="connsiteX342" fmla="*/ 6960611 w 12192000"/>
              <a:gd name="connsiteY342" fmla="*/ 5953589 h 6858000"/>
              <a:gd name="connsiteX343" fmla="*/ 6909198 w 12192000"/>
              <a:gd name="connsiteY343" fmla="*/ 5953589 h 6858000"/>
              <a:gd name="connsiteX344" fmla="*/ 6900972 w 12192000"/>
              <a:gd name="connsiteY344" fmla="*/ 5932805 h 6858000"/>
              <a:gd name="connsiteX345" fmla="*/ 6937989 w 12192000"/>
              <a:gd name="connsiteY345" fmla="*/ 5895393 h 6858000"/>
              <a:gd name="connsiteX346" fmla="*/ 6937989 w 12192000"/>
              <a:gd name="connsiteY346" fmla="*/ 5893314 h 6858000"/>
              <a:gd name="connsiteX347" fmla="*/ 6927706 w 12192000"/>
              <a:gd name="connsiteY347" fmla="*/ 5874608 h 6858000"/>
              <a:gd name="connsiteX348" fmla="*/ 6925650 w 12192000"/>
              <a:gd name="connsiteY348" fmla="*/ 5874608 h 6858000"/>
              <a:gd name="connsiteX349" fmla="*/ 6876293 w 12192000"/>
              <a:gd name="connsiteY349" fmla="*/ 5887079 h 6858000"/>
              <a:gd name="connsiteX350" fmla="*/ 6861897 w 12192000"/>
              <a:gd name="connsiteY350" fmla="*/ 5870451 h 6858000"/>
              <a:gd name="connsiteX351" fmla="*/ 6888632 w 12192000"/>
              <a:gd name="connsiteY351" fmla="*/ 5824725 h 6858000"/>
              <a:gd name="connsiteX352" fmla="*/ 6888632 w 12192000"/>
              <a:gd name="connsiteY352" fmla="*/ 5822647 h 6858000"/>
              <a:gd name="connsiteX353" fmla="*/ 6872180 w 12192000"/>
              <a:gd name="connsiteY353" fmla="*/ 5808097 h 6858000"/>
              <a:gd name="connsiteX354" fmla="*/ 6826936 w 12192000"/>
              <a:gd name="connsiteY354" fmla="*/ 5833039 h 6858000"/>
              <a:gd name="connsiteX355" fmla="*/ 6808427 w 12192000"/>
              <a:gd name="connsiteY355" fmla="*/ 5820568 h 6858000"/>
              <a:gd name="connsiteX356" fmla="*/ 6822823 w 12192000"/>
              <a:gd name="connsiteY356" fmla="*/ 5770685 h 6858000"/>
              <a:gd name="connsiteX357" fmla="*/ 6822823 w 12192000"/>
              <a:gd name="connsiteY357" fmla="*/ 5768607 h 6858000"/>
              <a:gd name="connsiteX358" fmla="*/ 6804314 w 12192000"/>
              <a:gd name="connsiteY358" fmla="*/ 5758215 h 6858000"/>
              <a:gd name="connsiteX359" fmla="*/ 6802257 w 12192000"/>
              <a:gd name="connsiteY359" fmla="*/ 5756136 h 6858000"/>
              <a:gd name="connsiteX360" fmla="*/ 6802257 w 12192000"/>
              <a:gd name="connsiteY360" fmla="*/ 5758215 h 6858000"/>
              <a:gd name="connsiteX361" fmla="*/ 6765240 w 12192000"/>
              <a:gd name="connsiteY361" fmla="*/ 5793548 h 6858000"/>
              <a:gd name="connsiteX362" fmla="*/ 6744675 w 12192000"/>
              <a:gd name="connsiteY362" fmla="*/ 5785235 h 6858000"/>
              <a:gd name="connsiteX363" fmla="*/ 6748788 w 12192000"/>
              <a:gd name="connsiteY363" fmla="*/ 5758215 h 6858000"/>
              <a:gd name="connsiteX364" fmla="*/ 6744675 w 12192000"/>
              <a:gd name="connsiteY364" fmla="*/ 5733273 h 6858000"/>
              <a:gd name="connsiteX365" fmla="*/ 6744675 w 12192000"/>
              <a:gd name="connsiteY365" fmla="*/ 5731195 h 6858000"/>
              <a:gd name="connsiteX366" fmla="*/ 6742618 w 12192000"/>
              <a:gd name="connsiteY366" fmla="*/ 5731195 h 6858000"/>
              <a:gd name="connsiteX367" fmla="*/ 6722053 w 12192000"/>
              <a:gd name="connsiteY367" fmla="*/ 5727038 h 6858000"/>
              <a:gd name="connsiteX368" fmla="*/ 6695318 w 12192000"/>
              <a:gd name="connsiteY368" fmla="*/ 5772764 h 6858000"/>
              <a:gd name="connsiteX369" fmla="*/ 6672696 w 12192000"/>
              <a:gd name="connsiteY369" fmla="*/ 5768607 h 6858000"/>
              <a:gd name="connsiteX370" fmla="*/ 6660357 w 12192000"/>
              <a:gd name="connsiteY370" fmla="*/ 5718724 h 6858000"/>
              <a:gd name="connsiteX371" fmla="*/ 6658300 w 12192000"/>
              <a:gd name="connsiteY371" fmla="*/ 5718724 h 6858000"/>
              <a:gd name="connsiteX372" fmla="*/ 6637734 w 12192000"/>
              <a:gd name="connsiteY372" fmla="*/ 5718724 h 6858000"/>
              <a:gd name="connsiteX373" fmla="*/ 6635678 w 12192000"/>
              <a:gd name="connsiteY373" fmla="*/ 5718724 h 6858000"/>
              <a:gd name="connsiteX374" fmla="*/ 0 w 12192000"/>
              <a:gd name="connsiteY374" fmla="*/ 0 h 6858000"/>
              <a:gd name="connsiteX375" fmla="*/ 12192000 w 12192000"/>
              <a:gd name="connsiteY375" fmla="*/ 0 h 6858000"/>
              <a:gd name="connsiteX376" fmla="*/ 12192000 w 12192000"/>
              <a:gd name="connsiteY376" fmla="*/ 6858000 h 6858000"/>
              <a:gd name="connsiteX377" fmla="*/ 4539049 w 12192000"/>
              <a:gd name="connsiteY377" fmla="*/ 6858000 h 6858000"/>
              <a:gd name="connsiteX378" fmla="*/ 0 w 12192000"/>
              <a:gd name="connsiteY378" fmla="*/ 6858000 h 6858000"/>
              <a:gd name="connsiteX379" fmla="*/ 0 w 12192000"/>
              <a:gd name="connsiteY379" fmla="*/ 627311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12192000" h="6858000">
                <a:moveTo>
                  <a:pt x="6602777" y="6116155"/>
                </a:moveTo>
                <a:cubicBezTo>
                  <a:pt x="6606858" y="6114071"/>
                  <a:pt x="6608899" y="6114071"/>
                  <a:pt x="6612980" y="6116155"/>
                </a:cubicBezTo>
                <a:cubicBezTo>
                  <a:pt x="6615021" y="6118240"/>
                  <a:pt x="6617061" y="6120324"/>
                  <a:pt x="6617061" y="6124493"/>
                </a:cubicBezTo>
                <a:cubicBezTo>
                  <a:pt x="6623183" y="6226637"/>
                  <a:pt x="6623183" y="6226637"/>
                  <a:pt x="6623183" y="6226637"/>
                </a:cubicBezTo>
                <a:cubicBezTo>
                  <a:pt x="6625224" y="6232890"/>
                  <a:pt x="6623183" y="6234975"/>
                  <a:pt x="6621142" y="6237059"/>
                </a:cubicBezTo>
                <a:cubicBezTo>
                  <a:pt x="6619102" y="6239144"/>
                  <a:pt x="6617061" y="6237059"/>
                  <a:pt x="6615021" y="6237059"/>
                </a:cubicBezTo>
                <a:cubicBezTo>
                  <a:pt x="6570127" y="6226637"/>
                  <a:pt x="6539517" y="6207875"/>
                  <a:pt x="6508908" y="6174523"/>
                </a:cubicBezTo>
                <a:cubicBezTo>
                  <a:pt x="6506867" y="6172439"/>
                  <a:pt x="6504827" y="6170354"/>
                  <a:pt x="6504827" y="6168270"/>
                </a:cubicBezTo>
                <a:cubicBezTo>
                  <a:pt x="6504827" y="6168270"/>
                  <a:pt x="6504827" y="6168270"/>
                  <a:pt x="6504827" y="6166184"/>
                </a:cubicBezTo>
                <a:cubicBezTo>
                  <a:pt x="6504827" y="6164100"/>
                  <a:pt x="6508908" y="6162015"/>
                  <a:pt x="6510948" y="6162015"/>
                </a:cubicBezTo>
                <a:cubicBezTo>
                  <a:pt x="6602777" y="6116155"/>
                  <a:pt x="6602777" y="6116155"/>
                  <a:pt x="6602777" y="6116155"/>
                </a:cubicBezTo>
                <a:close/>
                <a:moveTo>
                  <a:pt x="6685511" y="6114071"/>
                </a:moveTo>
                <a:cubicBezTo>
                  <a:pt x="6689631" y="6114071"/>
                  <a:pt x="6691692" y="6114071"/>
                  <a:pt x="6695813" y="6114071"/>
                </a:cubicBezTo>
                <a:cubicBezTo>
                  <a:pt x="6786472" y="6159837"/>
                  <a:pt x="6786472" y="6159837"/>
                  <a:pt x="6786472" y="6159837"/>
                </a:cubicBezTo>
                <a:cubicBezTo>
                  <a:pt x="6790593" y="6161917"/>
                  <a:pt x="6792654" y="6163997"/>
                  <a:pt x="6794714" y="6166078"/>
                </a:cubicBezTo>
                <a:cubicBezTo>
                  <a:pt x="6794714" y="6168158"/>
                  <a:pt x="6792654" y="6170238"/>
                  <a:pt x="6790593" y="6172318"/>
                </a:cubicBezTo>
                <a:cubicBezTo>
                  <a:pt x="6759687" y="6205602"/>
                  <a:pt x="6726720" y="6224325"/>
                  <a:pt x="6683451" y="6234726"/>
                </a:cubicBezTo>
                <a:cubicBezTo>
                  <a:pt x="6679330" y="6236806"/>
                  <a:pt x="6677269" y="6236806"/>
                  <a:pt x="6675208" y="6234726"/>
                </a:cubicBezTo>
                <a:cubicBezTo>
                  <a:pt x="6673148" y="6232646"/>
                  <a:pt x="6673148" y="6228485"/>
                  <a:pt x="6673148" y="6226405"/>
                </a:cubicBezTo>
                <a:cubicBezTo>
                  <a:pt x="6681390" y="6122392"/>
                  <a:pt x="6681390" y="6122392"/>
                  <a:pt x="6681390" y="6122392"/>
                </a:cubicBezTo>
                <a:cubicBezTo>
                  <a:pt x="6681390" y="6120312"/>
                  <a:pt x="6683451" y="6116151"/>
                  <a:pt x="6685511" y="6114071"/>
                </a:cubicBezTo>
                <a:close/>
                <a:moveTo>
                  <a:pt x="5867776" y="6074328"/>
                </a:moveTo>
                <a:cubicBezTo>
                  <a:pt x="5867776" y="6074328"/>
                  <a:pt x="5867776" y="6074328"/>
                  <a:pt x="5867776" y="6117531"/>
                </a:cubicBezTo>
                <a:cubicBezTo>
                  <a:pt x="5867776" y="6117531"/>
                  <a:pt x="5840708" y="6125760"/>
                  <a:pt x="5819888" y="6125760"/>
                </a:cubicBezTo>
                <a:cubicBezTo>
                  <a:pt x="5803231" y="6125760"/>
                  <a:pt x="5801149" y="6109302"/>
                  <a:pt x="5801149" y="6101073"/>
                </a:cubicBezTo>
                <a:cubicBezTo>
                  <a:pt x="5801149" y="6086672"/>
                  <a:pt x="5809477" y="6078443"/>
                  <a:pt x="5826134" y="6076386"/>
                </a:cubicBezTo>
                <a:close/>
                <a:moveTo>
                  <a:pt x="5518276" y="6004194"/>
                </a:moveTo>
                <a:cubicBezTo>
                  <a:pt x="5546913" y="6004194"/>
                  <a:pt x="5559186" y="6020801"/>
                  <a:pt x="5559186" y="6064393"/>
                </a:cubicBezTo>
                <a:cubicBezTo>
                  <a:pt x="5559186" y="6101757"/>
                  <a:pt x="5553050" y="6124591"/>
                  <a:pt x="5518276" y="6124591"/>
                </a:cubicBezTo>
                <a:cubicBezTo>
                  <a:pt x="5483500" y="6124591"/>
                  <a:pt x="5477363" y="6101757"/>
                  <a:pt x="5477363" y="6064393"/>
                </a:cubicBezTo>
                <a:cubicBezTo>
                  <a:pt x="5477363" y="6020801"/>
                  <a:pt x="5487591" y="6004194"/>
                  <a:pt x="5518276" y="6004194"/>
                </a:cubicBezTo>
                <a:close/>
                <a:moveTo>
                  <a:pt x="6672498" y="5995882"/>
                </a:moveTo>
                <a:cubicBezTo>
                  <a:pt x="6675325" y="5995363"/>
                  <a:pt x="6678409" y="5995882"/>
                  <a:pt x="6681491" y="5996921"/>
                </a:cubicBezTo>
                <a:cubicBezTo>
                  <a:pt x="6697937" y="6009390"/>
                  <a:pt x="6708215" y="6028092"/>
                  <a:pt x="6708215" y="6048872"/>
                </a:cubicBezTo>
                <a:cubicBezTo>
                  <a:pt x="6708215" y="6080043"/>
                  <a:pt x="6681491" y="6107057"/>
                  <a:pt x="6648601" y="6107057"/>
                </a:cubicBezTo>
                <a:cubicBezTo>
                  <a:pt x="6615711" y="6107057"/>
                  <a:pt x="6588987" y="6080043"/>
                  <a:pt x="6588987" y="6048872"/>
                </a:cubicBezTo>
                <a:cubicBezTo>
                  <a:pt x="6588987" y="6028092"/>
                  <a:pt x="6599266" y="6009390"/>
                  <a:pt x="6615711" y="5999000"/>
                </a:cubicBezTo>
                <a:cubicBezTo>
                  <a:pt x="6621878" y="5994843"/>
                  <a:pt x="6628045" y="5994843"/>
                  <a:pt x="6632156" y="6001077"/>
                </a:cubicBezTo>
                <a:cubicBezTo>
                  <a:pt x="6636268" y="6007312"/>
                  <a:pt x="6634212" y="6013545"/>
                  <a:pt x="6630100" y="6017702"/>
                </a:cubicBezTo>
                <a:cubicBezTo>
                  <a:pt x="6619822" y="6023936"/>
                  <a:pt x="6613655" y="6036404"/>
                  <a:pt x="6613655" y="6048872"/>
                </a:cubicBezTo>
                <a:cubicBezTo>
                  <a:pt x="6613655" y="6067575"/>
                  <a:pt x="6630100" y="6084199"/>
                  <a:pt x="6648601" y="6084199"/>
                </a:cubicBezTo>
                <a:cubicBezTo>
                  <a:pt x="6667102" y="6084199"/>
                  <a:pt x="6683547" y="6067575"/>
                  <a:pt x="6683547" y="6048872"/>
                </a:cubicBezTo>
                <a:cubicBezTo>
                  <a:pt x="6683547" y="6036404"/>
                  <a:pt x="6677381" y="6023936"/>
                  <a:pt x="6667102" y="6017702"/>
                </a:cubicBezTo>
                <a:cubicBezTo>
                  <a:pt x="6662991" y="6013545"/>
                  <a:pt x="6660935" y="6007312"/>
                  <a:pt x="6665047" y="6001077"/>
                </a:cubicBezTo>
                <a:cubicBezTo>
                  <a:pt x="6667102" y="5997961"/>
                  <a:pt x="6669672" y="5996402"/>
                  <a:pt x="6672498" y="5995882"/>
                </a:cubicBezTo>
                <a:close/>
                <a:moveTo>
                  <a:pt x="6821432" y="5980816"/>
                </a:moveTo>
                <a:cubicBezTo>
                  <a:pt x="6823499" y="5980816"/>
                  <a:pt x="6825565" y="5984968"/>
                  <a:pt x="6825565" y="5987045"/>
                </a:cubicBezTo>
                <a:cubicBezTo>
                  <a:pt x="6837964" y="6030643"/>
                  <a:pt x="6837964" y="6068013"/>
                  <a:pt x="6825565" y="6111612"/>
                </a:cubicBezTo>
                <a:cubicBezTo>
                  <a:pt x="6823499" y="6115764"/>
                  <a:pt x="6823499" y="6117840"/>
                  <a:pt x="6821432" y="6117840"/>
                </a:cubicBezTo>
                <a:cubicBezTo>
                  <a:pt x="6817299" y="6119916"/>
                  <a:pt x="6815233" y="6117840"/>
                  <a:pt x="6813166" y="6115764"/>
                </a:cubicBezTo>
                <a:cubicBezTo>
                  <a:pt x="6728441" y="6057632"/>
                  <a:pt x="6728441" y="6057632"/>
                  <a:pt x="6728441" y="6057632"/>
                </a:cubicBezTo>
                <a:cubicBezTo>
                  <a:pt x="6724308" y="6055557"/>
                  <a:pt x="6722242" y="6053480"/>
                  <a:pt x="6722242" y="6049328"/>
                </a:cubicBezTo>
                <a:cubicBezTo>
                  <a:pt x="6722242" y="6047252"/>
                  <a:pt x="6724308" y="6043100"/>
                  <a:pt x="6728441" y="6041024"/>
                </a:cubicBezTo>
                <a:cubicBezTo>
                  <a:pt x="6813166" y="5982893"/>
                  <a:pt x="6813166" y="5982893"/>
                  <a:pt x="6813166" y="5982893"/>
                </a:cubicBezTo>
                <a:cubicBezTo>
                  <a:pt x="6815233" y="5980816"/>
                  <a:pt x="6819366" y="5980816"/>
                  <a:pt x="6821432" y="5980816"/>
                </a:cubicBezTo>
                <a:close/>
                <a:moveTo>
                  <a:pt x="6475604" y="5980816"/>
                </a:moveTo>
                <a:cubicBezTo>
                  <a:pt x="6479695" y="5980816"/>
                  <a:pt x="6481741" y="5982893"/>
                  <a:pt x="6483787" y="5984968"/>
                </a:cubicBezTo>
                <a:cubicBezTo>
                  <a:pt x="6567656" y="6041024"/>
                  <a:pt x="6567656" y="6041024"/>
                  <a:pt x="6567656" y="6041024"/>
                </a:cubicBezTo>
                <a:cubicBezTo>
                  <a:pt x="6571747" y="6043100"/>
                  <a:pt x="6573792" y="6047252"/>
                  <a:pt x="6573792" y="6049328"/>
                </a:cubicBezTo>
                <a:cubicBezTo>
                  <a:pt x="6573792" y="6053480"/>
                  <a:pt x="6571747" y="6055557"/>
                  <a:pt x="6567656" y="6057632"/>
                </a:cubicBezTo>
                <a:lnTo>
                  <a:pt x="6483787" y="6115764"/>
                </a:lnTo>
                <a:cubicBezTo>
                  <a:pt x="6479695" y="6117840"/>
                  <a:pt x="6477650" y="6119916"/>
                  <a:pt x="6475604" y="6117840"/>
                </a:cubicBezTo>
                <a:cubicBezTo>
                  <a:pt x="6473559" y="6117840"/>
                  <a:pt x="6471513" y="6115764"/>
                  <a:pt x="6471513" y="6111612"/>
                </a:cubicBezTo>
                <a:cubicBezTo>
                  <a:pt x="6459240" y="6068013"/>
                  <a:pt x="6459240" y="6032719"/>
                  <a:pt x="6471513" y="5987045"/>
                </a:cubicBezTo>
                <a:cubicBezTo>
                  <a:pt x="6471513" y="5984968"/>
                  <a:pt x="6473559" y="5982893"/>
                  <a:pt x="6475604" y="5980816"/>
                </a:cubicBezTo>
                <a:close/>
                <a:moveTo>
                  <a:pt x="6087559" y="5970296"/>
                </a:moveTo>
                <a:cubicBezTo>
                  <a:pt x="6085506" y="5970296"/>
                  <a:pt x="6083453" y="5970296"/>
                  <a:pt x="6081400" y="5972374"/>
                </a:cubicBezTo>
                <a:cubicBezTo>
                  <a:pt x="6079347" y="5974451"/>
                  <a:pt x="6079347" y="5976528"/>
                  <a:pt x="6079347" y="5978604"/>
                </a:cubicBezTo>
                <a:cubicBezTo>
                  <a:pt x="6120408" y="6136455"/>
                  <a:pt x="6120408" y="6136455"/>
                  <a:pt x="6120408" y="6136455"/>
                </a:cubicBezTo>
                <a:cubicBezTo>
                  <a:pt x="6122461" y="6144763"/>
                  <a:pt x="6130674" y="6157224"/>
                  <a:pt x="6145045" y="6157224"/>
                </a:cubicBezTo>
                <a:cubicBezTo>
                  <a:pt x="6153257" y="6157224"/>
                  <a:pt x="6153257" y="6157224"/>
                  <a:pt x="6153257" y="6157224"/>
                </a:cubicBezTo>
                <a:cubicBezTo>
                  <a:pt x="6151204" y="6161378"/>
                  <a:pt x="6151204" y="6163456"/>
                  <a:pt x="6149151" y="6165532"/>
                </a:cubicBezTo>
                <a:cubicBezTo>
                  <a:pt x="6149151" y="6167609"/>
                  <a:pt x="6149151" y="6167609"/>
                  <a:pt x="6149151" y="6167609"/>
                </a:cubicBezTo>
                <a:cubicBezTo>
                  <a:pt x="6147098" y="6173841"/>
                  <a:pt x="6145045" y="6186302"/>
                  <a:pt x="6124515" y="6186302"/>
                </a:cubicBezTo>
                <a:cubicBezTo>
                  <a:pt x="6089612" y="6184225"/>
                  <a:pt x="6089612" y="6184225"/>
                  <a:pt x="6089612" y="6184225"/>
                </a:cubicBezTo>
                <a:cubicBezTo>
                  <a:pt x="6087559" y="6182148"/>
                  <a:pt x="6085506" y="6184225"/>
                  <a:pt x="6083453" y="6186302"/>
                </a:cubicBezTo>
                <a:cubicBezTo>
                  <a:pt x="6081400" y="6186302"/>
                  <a:pt x="6081400" y="6188379"/>
                  <a:pt x="6081400" y="6190456"/>
                </a:cubicBezTo>
                <a:cubicBezTo>
                  <a:pt x="6081400" y="6209149"/>
                  <a:pt x="6081400" y="6209149"/>
                  <a:pt x="6081400" y="6209149"/>
                </a:cubicBezTo>
                <a:cubicBezTo>
                  <a:pt x="6081400" y="6213303"/>
                  <a:pt x="6083453" y="6215380"/>
                  <a:pt x="6087559" y="6215380"/>
                </a:cubicBezTo>
                <a:cubicBezTo>
                  <a:pt x="6097825" y="6219533"/>
                  <a:pt x="6118355" y="6221610"/>
                  <a:pt x="6134780" y="6221610"/>
                </a:cubicBezTo>
                <a:cubicBezTo>
                  <a:pt x="6134780" y="6221610"/>
                  <a:pt x="6134780" y="6221610"/>
                  <a:pt x="6136833" y="6221610"/>
                </a:cubicBezTo>
                <a:cubicBezTo>
                  <a:pt x="6163523" y="6221610"/>
                  <a:pt x="6182000" y="6204995"/>
                  <a:pt x="6190213" y="6169686"/>
                </a:cubicBezTo>
                <a:cubicBezTo>
                  <a:pt x="6200478" y="6130223"/>
                  <a:pt x="6214849" y="6078299"/>
                  <a:pt x="6223062" y="6040914"/>
                </a:cubicBezTo>
                <a:cubicBezTo>
                  <a:pt x="6227168" y="6024298"/>
                  <a:pt x="6231274" y="6009759"/>
                  <a:pt x="6235380" y="5999374"/>
                </a:cubicBezTo>
                <a:cubicBezTo>
                  <a:pt x="6239487" y="5978604"/>
                  <a:pt x="6239487" y="5978604"/>
                  <a:pt x="6239487" y="5978604"/>
                </a:cubicBezTo>
                <a:cubicBezTo>
                  <a:pt x="6239487" y="5976528"/>
                  <a:pt x="6239487" y="5974451"/>
                  <a:pt x="6237434" y="5972374"/>
                </a:cubicBezTo>
                <a:cubicBezTo>
                  <a:pt x="6237434" y="5970296"/>
                  <a:pt x="6235380" y="5970296"/>
                  <a:pt x="6233327" y="5970296"/>
                </a:cubicBezTo>
                <a:cubicBezTo>
                  <a:pt x="6204584" y="5970296"/>
                  <a:pt x="6204584" y="5970296"/>
                  <a:pt x="6204584" y="5970296"/>
                </a:cubicBezTo>
                <a:cubicBezTo>
                  <a:pt x="6202531" y="5970296"/>
                  <a:pt x="6198425" y="5972374"/>
                  <a:pt x="6198425" y="5974451"/>
                </a:cubicBezTo>
                <a:cubicBezTo>
                  <a:pt x="6161469" y="6115685"/>
                  <a:pt x="6161469" y="6115685"/>
                  <a:pt x="6161469" y="6115685"/>
                </a:cubicBezTo>
                <a:cubicBezTo>
                  <a:pt x="6159417" y="6115685"/>
                  <a:pt x="6159417" y="6115685"/>
                  <a:pt x="6159417" y="6115685"/>
                </a:cubicBezTo>
                <a:cubicBezTo>
                  <a:pt x="6120408" y="5974451"/>
                  <a:pt x="6120408" y="5974451"/>
                  <a:pt x="6120408" y="5974451"/>
                </a:cubicBezTo>
                <a:cubicBezTo>
                  <a:pt x="6120408" y="5972374"/>
                  <a:pt x="6118355" y="5970296"/>
                  <a:pt x="6114249" y="5970296"/>
                </a:cubicBezTo>
                <a:cubicBezTo>
                  <a:pt x="6087559" y="5970296"/>
                  <a:pt x="6087559" y="5970296"/>
                  <a:pt x="6087559" y="5970296"/>
                </a:cubicBezTo>
                <a:close/>
                <a:moveTo>
                  <a:pt x="6047787" y="5967959"/>
                </a:moveTo>
                <a:cubicBezTo>
                  <a:pt x="6029376" y="5967959"/>
                  <a:pt x="6010966" y="5980444"/>
                  <a:pt x="5998692" y="5988768"/>
                </a:cubicBezTo>
                <a:cubicBezTo>
                  <a:pt x="5998692" y="5976283"/>
                  <a:pt x="5998692" y="5976283"/>
                  <a:pt x="5998692" y="5976283"/>
                </a:cubicBezTo>
                <a:cubicBezTo>
                  <a:pt x="5998692" y="5972120"/>
                  <a:pt x="5996647" y="5970040"/>
                  <a:pt x="5992556" y="5970040"/>
                </a:cubicBezTo>
                <a:cubicBezTo>
                  <a:pt x="5963918" y="5970040"/>
                  <a:pt x="5963918" y="5970040"/>
                  <a:pt x="5963918" y="5970040"/>
                </a:cubicBezTo>
                <a:cubicBezTo>
                  <a:pt x="5959827" y="5970040"/>
                  <a:pt x="5957781" y="5972120"/>
                  <a:pt x="5957781" y="5976283"/>
                </a:cubicBezTo>
                <a:cubicBezTo>
                  <a:pt x="5957781" y="6151078"/>
                  <a:pt x="5957781" y="6151078"/>
                  <a:pt x="5957781" y="6151078"/>
                </a:cubicBezTo>
                <a:cubicBezTo>
                  <a:pt x="5957781" y="6155240"/>
                  <a:pt x="5959827" y="6157321"/>
                  <a:pt x="5963918" y="6157321"/>
                </a:cubicBezTo>
                <a:cubicBezTo>
                  <a:pt x="5992556" y="6157321"/>
                  <a:pt x="5992556" y="6157321"/>
                  <a:pt x="5992556" y="6157321"/>
                </a:cubicBezTo>
                <a:cubicBezTo>
                  <a:pt x="5996647" y="6157321"/>
                  <a:pt x="5998692" y="6155240"/>
                  <a:pt x="5998692" y="6151078"/>
                </a:cubicBezTo>
                <a:cubicBezTo>
                  <a:pt x="5998692" y="6030386"/>
                  <a:pt x="5998692" y="6030386"/>
                  <a:pt x="5998692" y="6030386"/>
                </a:cubicBezTo>
                <a:cubicBezTo>
                  <a:pt x="6006875" y="6024143"/>
                  <a:pt x="6025285" y="6009577"/>
                  <a:pt x="6049832" y="6007496"/>
                </a:cubicBezTo>
                <a:cubicBezTo>
                  <a:pt x="6053923" y="6007496"/>
                  <a:pt x="6055969" y="6003334"/>
                  <a:pt x="6055969" y="6001253"/>
                </a:cubicBezTo>
                <a:cubicBezTo>
                  <a:pt x="6055969" y="5974202"/>
                  <a:pt x="6055969" y="5974202"/>
                  <a:pt x="6055969" y="5974202"/>
                </a:cubicBezTo>
                <a:cubicBezTo>
                  <a:pt x="6055969" y="5972120"/>
                  <a:pt x="6055969" y="5970040"/>
                  <a:pt x="6053923" y="5970040"/>
                </a:cubicBezTo>
                <a:cubicBezTo>
                  <a:pt x="6051878" y="5967959"/>
                  <a:pt x="6049832" y="5967959"/>
                  <a:pt x="6047787" y="5967959"/>
                </a:cubicBezTo>
                <a:close/>
                <a:moveTo>
                  <a:pt x="5846879" y="5964452"/>
                </a:moveTo>
                <a:cubicBezTo>
                  <a:pt x="5826186" y="5964452"/>
                  <a:pt x="5791009" y="5970690"/>
                  <a:pt x="5776523" y="5972770"/>
                </a:cubicBezTo>
                <a:cubicBezTo>
                  <a:pt x="5772384" y="5972770"/>
                  <a:pt x="5770315" y="5976928"/>
                  <a:pt x="5770315" y="5979008"/>
                </a:cubicBezTo>
                <a:cubicBezTo>
                  <a:pt x="5770315" y="5979008"/>
                  <a:pt x="5770315" y="5979008"/>
                  <a:pt x="5772384" y="6003961"/>
                </a:cubicBezTo>
                <a:cubicBezTo>
                  <a:pt x="5772384" y="6006040"/>
                  <a:pt x="5772384" y="6008120"/>
                  <a:pt x="5774454" y="6008120"/>
                </a:cubicBezTo>
                <a:cubicBezTo>
                  <a:pt x="5776523" y="6010199"/>
                  <a:pt x="5776523" y="6010199"/>
                  <a:pt x="5778592" y="6010199"/>
                </a:cubicBezTo>
                <a:cubicBezTo>
                  <a:pt x="5795147" y="6010199"/>
                  <a:pt x="5824116" y="6006040"/>
                  <a:pt x="5844809" y="6006040"/>
                </a:cubicBezTo>
                <a:cubicBezTo>
                  <a:pt x="5859294" y="6006040"/>
                  <a:pt x="5867571" y="6014358"/>
                  <a:pt x="5867571" y="6028914"/>
                </a:cubicBezTo>
                <a:cubicBezTo>
                  <a:pt x="5867571" y="6028914"/>
                  <a:pt x="5867571" y="6028914"/>
                  <a:pt x="5867571" y="6041390"/>
                </a:cubicBezTo>
                <a:cubicBezTo>
                  <a:pt x="5867571" y="6041390"/>
                  <a:pt x="5867571" y="6041390"/>
                  <a:pt x="5822047" y="6045549"/>
                </a:cubicBezTo>
                <a:cubicBezTo>
                  <a:pt x="5776523" y="6047629"/>
                  <a:pt x="5757900" y="6064264"/>
                  <a:pt x="5757900" y="6101693"/>
                </a:cubicBezTo>
                <a:cubicBezTo>
                  <a:pt x="5757900" y="6141202"/>
                  <a:pt x="5778592" y="6161996"/>
                  <a:pt x="5813770" y="6161996"/>
                </a:cubicBezTo>
                <a:cubicBezTo>
                  <a:pt x="5842740" y="6161996"/>
                  <a:pt x="5873779" y="6149520"/>
                  <a:pt x="5873779" y="6149520"/>
                </a:cubicBezTo>
                <a:cubicBezTo>
                  <a:pt x="5882056" y="6155758"/>
                  <a:pt x="5888264" y="6159917"/>
                  <a:pt x="5902750" y="6161996"/>
                </a:cubicBezTo>
                <a:cubicBezTo>
                  <a:pt x="5904818" y="6161996"/>
                  <a:pt x="5906888" y="6161996"/>
                  <a:pt x="5908957" y="6159917"/>
                </a:cubicBezTo>
                <a:cubicBezTo>
                  <a:pt x="5908957" y="6157837"/>
                  <a:pt x="5911026" y="6155758"/>
                  <a:pt x="5911026" y="6153679"/>
                </a:cubicBezTo>
                <a:cubicBezTo>
                  <a:pt x="5911026" y="6153679"/>
                  <a:pt x="5911026" y="6153679"/>
                  <a:pt x="5911026" y="6028914"/>
                </a:cubicBezTo>
                <a:cubicBezTo>
                  <a:pt x="5911026" y="5985246"/>
                  <a:pt x="5890333" y="5964452"/>
                  <a:pt x="5846879" y="5964452"/>
                </a:cubicBezTo>
                <a:close/>
                <a:moveTo>
                  <a:pt x="5518274" y="5964452"/>
                </a:moveTo>
                <a:cubicBezTo>
                  <a:pt x="5471794" y="5964452"/>
                  <a:pt x="5434114" y="6008673"/>
                  <a:pt x="5434114" y="6063224"/>
                </a:cubicBezTo>
                <a:cubicBezTo>
                  <a:pt x="5434114" y="6117775"/>
                  <a:pt x="5471794" y="6161996"/>
                  <a:pt x="5518274" y="6161996"/>
                </a:cubicBezTo>
                <a:cubicBezTo>
                  <a:pt x="5564755" y="6161996"/>
                  <a:pt x="5602435" y="6117775"/>
                  <a:pt x="5602435" y="6063224"/>
                </a:cubicBezTo>
                <a:cubicBezTo>
                  <a:pt x="5602435" y="6008673"/>
                  <a:pt x="5564755" y="5964452"/>
                  <a:pt x="5518274" y="5964452"/>
                </a:cubicBezTo>
                <a:close/>
                <a:moveTo>
                  <a:pt x="5302320" y="5938736"/>
                </a:moveTo>
                <a:cubicBezTo>
                  <a:pt x="5302320" y="5938736"/>
                  <a:pt x="5302320" y="5938736"/>
                  <a:pt x="5318685" y="5938736"/>
                </a:cubicBezTo>
                <a:cubicBezTo>
                  <a:pt x="5349369" y="5938736"/>
                  <a:pt x="5361642" y="5959653"/>
                  <a:pt x="5361642" y="5978478"/>
                </a:cubicBezTo>
                <a:cubicBezTo>
                  <a:pt x="5361642" y="6001488"/>
                  <a:pt x="5343232" y="6016129"/>
                  <a:pt x="5316640" y="6016129"/>
                </a:cubicBezTo>
                <a:cubicBezTo>
                  <a:pt x="5294139" y="6018221"/>
                  <a:pt x="5279820" y="6016129"/>
                  <a:pt x="5271637" y="6016129"/>
                </a:cubicBezTo>
                <a:cubicBezTo>
                  <a:pt x="5271637" y="6016129"/>
                  <a:pt x="5271637" y="6016129"/>
                  <a:pt x="5271637" y="5940828"/>
                </a:cubicBezTo>
                <a:cubicBezTo>
                  <a:pt x="5275728" y="5938736"/>
                  <a:pt x="5285956" y="5938736"/>
                  <a:pt x="5302320" y="5938736"/>
                </a:cubicBezTo>
                <a:close/>
                <a:moveTo>
                  <a:pt x="5678557" y="5927047"/>
                </a:moveTo>
                <a:cubicBezTo>
                  <a:pt x="5678557" y="5927047"/>
                  <a:pt x="5678557" y="5927047"/>
                  <a:pt x="5649847" y="5933291"/>
                </a:cubicBezTo>
                <a:cubicBezTo>
                  <a:pt x="5645746" y="5935373"/>
                  <a:pt x="5643695" y="5937455"/>
                  <a:pt x="5643695" y="5939535"/>
                </a:cubicBezTo>
                <a:cubicBezTo>
                  <a:pt x="5643695" y="5939535"/>
                  <a:pt x="5643695" y="5939535"/>
                  <a:pt x="5643695" y="5970757"/>
                </a:cubicBezTo>
                <a:cubicBezTo>
                  <a:pt x="5643695" y="5970757"/>
                  <a:pt x="5643695" y="5970757"/>
                  <a:pt x="5627290" y="5970757"/>
                </a:cubicBezTo>
                <a:cubicBezTo>
                  <a:pt x="5623188" y="5970757"/>
                  <a:pt x="5621138" y="5972839"/>
                  <a:pt x="5621138" y="5977002"/>
                </a:cubicBezTo>
                <a:cubicBezTo>
                  <a:pt x="5621138" y="5977002"/>
                  <a:pt x="5621138" y="5977002"/>
                  <a:pt x="5621138" y="6001980"/>
                </a:cubicBezTo>
                <a:cubicBezTo>
                  <a:pt x="5621138" y="6006143"/>
                  <a:pt x="5623188" y="6008224"/>
                  <a:pt x="5627290" y="6008224"/>
                </a:cubicBezTo>
                <a:cubicBezTo>
                  <a:pt x="5627290" y="6008224"/>
                  <a:pt x="5627290" y="6008224"/>
                  <a:pt x="5643695" y="6008224"/>
                </a:cubicBezTo>
                <a:cubicBezTo>
                  <a:pt x="5643695" y="6008224"/>
                  <a:pt x="5643695" y="6008224"/>
                  <a:pt x="5643695" y="6091483"/>
                </a:cubicBezTo>
                <a:cubicBezTo>
                  <a:pt x="5643695" y="6147682"/>
                  <a:pt x="5658050" y="6164334"/>
                  <a:pt x="5699064" y="6164334"/>
                </a:cubicBezTo>
                <a:cubicBezTo>
                  <a:pt x="5709318" y="6164334"/>
                  <a:pt x="5721622" y="6160171"/>
                  <a:pt x="5731875" y="6160171"/>
                </a:cubicBezTo>
                <a:cubicBezTo>
                  <a:pt x="5735977" y="6158090"/>
                  <a:pt x="5738028" y="6156008"/>
                  <a:pt x="5738028" y="6151845"/>
                </a:cubicBezTo>
                <a:cubicBezTo>
                  <a:pt x="5738028" y="6151845"/>
                  <a:pt x="5738028" y="6151845"/>
                  <a:pt x="5735977" y="6128949"/>
                </a:cubicBezTo>
                <a:cubicBezTo>
                  <a:pt x="5735977" y="6124786"/>
                  <a:pt x="5733926" y="6120623"/>
                  <a:pt x="5729824" y="6120623"/>
                </a:cubicBezTo>
                <a:cubicBezTo>
                  <a:pt x="5723673" y="6120623"/>
                  <a:pt x="5713419" y="6122705"/>
                  <a:pt x="5705217" y="6122705"/>
                </a:cubicBezTo>
                <a:cubicBezTo>
                  <a:pt x="5686761" y="6122705"/>
                  <a:pt x="5686761" y="6112298"/>
                  <a:pt x="5686761" y="6085238"/>
                </a:cubicBezTo>
                <a:cubicBezTo>
                  <a:pt x="5686761" y="6085238"/>
                  <a:pt x="5686761" y="6085238"/>
                  <a:pt x="5686761" y="6008224"/>
                </a:cubicBezTo>
                <a:cubicBezTo>
                  <a:pt x="5686761" y="6008224"/>
                  <a:pt x="5686761" y="6008224"/>
                  <a:pt x="5729824" y="6008224"/>
                </a:cubicBezTo>
                <a:cubicBezTo>
                  <a:pt x="5733926" y="6008224"/>
                  <a:pt x="5735977" y="6006143"/>
                  <a:pt x="5735977" y="6001980"/>
                </a:cubicBezTo>
                <a:cubicBezTo>
                  <a:pt x="5735977" y="6001980"/>
                  <a:pt x="5735977" y="6001980"/>
                  <a:pt x="5735977" y="5977002"/>
                </a:cubicBezTo>
                <a:cubicBezTo>
                  <a:pt x="5735977" y="5972839"/>
                  <a:pt x="5733926" y="5970757"/>
                  <a:pt x="5729824" y="5970757"/>
                </a:cubicBezTo>
                <a:cubicBezTo>
                  <a:pt x="5729824" y="5970757"/>
                  <a:pt x="5729824" y="5970757"/>
                  <a:pt x="5686761" y="5970757"/>
                </a:cubicBezTo>
                <a:cubicBezTo>
                  <a:pt x="5686761" y="5970757"/>
                  <a:pt x="5686761" y="5970757"/>
                  <a:pt x="5686761" y="5933291"/>
                </a:cubicBezTo>
                <a:cubicBezTo>
                  <a:pt x="5686761" y="5931210"/>
                  <a:pt x="5684709" y="5929128"/>
                  <a:pt x="5684709" y="5927047"/>
                </a:cubicBezTo>
                <a:cubicBezTo>
                  <a:pt x="5682658" y="5927047"/>
                  <a:pt x="5680608" y="5927047"/>
                  <a:pt x="5678557" y="5927047"/>
                </a:cubicBezTo>
                <a:close/>
                <a:moveTo>
                  <a:pt x="5312653" y="5897825"/>
                </a:moveTo>
                <a:cubicBezTo>
                  <a:pt x="5302343" y="5897825"/>
                  <a:pt x="5271414" y="5897825"/>
                  <a:pt x="5232236" y="5901977"/>
                </a:cubicBezTo>
                <a:cubicBezTo>
                  <a:pt x="5230173" y="5901977"/>
                  <a:pt x="5226049" y="5906129"/>
                  <a:pt x="5226049" y="5910281"/>
                </a:cubicBezTo>
                <a:cubicBezTo>
                  <a:pt x="5226049" y="5910281"/>
                  <a:pt x="5226049" y="5910281"/>
                  <a:pt x="5226049" y="6151093"/>
                </a:cubicBezTo>
                <a:cubicBezTo>
                  <a:pt x="5226049" y="6155245"/>
                  <a:pt x="5230173" y="6157321"/>
                  <a:pt x="5234297" y="6157321"/>
                </a:cubicBezTo>
                <a:cubicBezTo>
                  <a:pt x="5234297" y="6157321"/>
                  <a:pt x="5234297" y="6157321"/>
                  <a:pt x="5263165" y="6157321"/>
                </a:cubicBezTo>
                <a:cubicBezTo>
                  <a:pt x="5267290" y="6157321"/>
                  <a:pt x="5271414" y="6155245"/>
                  <a:pt x="5271414" y="6151093"/>
                </a:cubicBezTo>
                <a:cubicBezTo>
                  <a:pt x="5271414" y="6151093"/>
                  <a:pt x="5271414" y="6151093"/>
                  <a:pt x="5271414" y="6055599"/>
                </a:cubicBezTo>
                <a:cubicBezTo>
                  <a:pt x="5279661" y="6055599"/>
                  <a:pt x="5298219" y="6057674"/>
                  <a:pt x="5320901" y="6057674"/>
                </a:cubicBezTo>
                <a:cubicBezTo>
                  <a:pt x="5320901" y="6057674"/>
                  <a:pt x="5320901" y="6057674"/>
                  <a:pt x="5362142" y="6153168"/>
                </a:cubicBezTo>
                <a:cubicBezTo>
                  <a:pt x="5364203" y="6157321"/>
                  <a:pt x="5366265" y="6157321"/>
                  <a:pt x="5368327" y="6157321"/>
                </a:cubicBezTo>
                <a:cubicBezTo>
                  <a:pt x="5368327" y="6157321"/>
                  <a:pt x="5368327" y="6157321"/>
                  <a:pt x="5401320" y="6157321"/>
                </a:cubicBezTo>
                <a:cubicBezTo>
                  <a:pt x="5405443" y="6157321"/>
                  <a:pt x="5407505" y="6157321"/>
                  <a:pt x="5407505" y="6155245"/>
                </a:cubicBezTo>
                <a:cubicBezTo>
                  <a:pt x="5409567" y="6153168"/>
                  <a:pt x="5409567" y="6151093"/>
                  <a:pt x="5409567" y="6149017"/>
                </a:cubicBezTo>
                <a:lnTo>
                  <a:pt x="5362142" y="6045219"/>
                </a:lnTo>
                <a:cubicBezTo>
                  <a:pt x="5393071" y="6030687"/>
                  <a:pt x="5407505" y="6007851"/>
                  <a:pt x="5407505" y="5976711"/>
                </a:cubicBezTo>
                <a:cubicBezTo>
                  <a:pt x="5407505" y="5941420"/>
                  <a:pt x="5391009" y="5897825"/>
                  <a:pt x="5318839" y="5897825"/>
                </a:cubicBezTo>
                <a:cubicBezTo>
                  <a:pt x="5318839" y="5897825"/>
                  <a:pt x="5316777" y="5897825"/>
                  <a:pt x="5312653" y="5897825"/>
                </a:cubicBezTo>
                <a:close/>
                <a:moveTo>
                  <a:pt x="6675208" y="5864819"/>
                </a:moveTo>
                <a:cubicBezTo>
                  <a:pt x="6677269" y="5862758"/>
                  <a:pt x="6681390" y="5862758"/>
                  <a:pt x="6683451" y="5864819"/>
                </a:cubicBezTo>
                <a:cubicBezTo>
                  <a:pt x="6726720" y="5875120"/>
                  <a:pt x="6759687" y="5893664"/>
                  <a:pt x="6790593" y="5926632"/>
                </a:cubicBezTo>
                <a:cubicBezTo>
                  <a:pt x="6792654" y="5928692"/>
                  <a:pt x="6794714" y="5930752"/>
                  <a:pt x="6794714" y="5932813"/>
                </a:cubicBezTo>
                <a:cubicBezTo>
                  <a:pt x="6792654" y="5936933"/>
                  <a:pt x="6790593" y="5936933"/>
                  <a:pt x="6786472" y="5938994"/>
                </a:cubicBezTo>
                <a:cubicBezTo>
                  <a:pt x="6695813" y="5982263"/>
                  <a:pt x="6695813" y="5982263"/>
                  <a:pt x="6695813" y="5982263"/>
                </a:cubicBezTo>
                <a:cubicBezTo>
                  <a:pt x="6691692" y="5984323"/>
                  <a:pt x="6687571" y="5984323"/>
                  <a:pt x="6685511" y="5984323"/>
                </a:cubicBezTo>
                <a:cubicBezTo>
                  <a:pt x="6683451" y="5982263"/>
                  <a:pt x="6681390" y="5978142"/>
                  <a:pt x="6681390" y="5974021"/>
                </a:cubicBezTo>
                <a:cubicBezTo>
                  <a:pt x="6673148" y="5873060"/>
                  <a:pt x="6673148" y="5873060"/>
                  <a:pt x="6673148" y="5873060"/>
                </a:cubicBezTo>
                <a:cubicBezTo>
                  <a:pt x="6673148" y="5868939"/>
                  <a:pt x="6673148" y="5866879"/>
                  <a:pt x="6675208" y="5864819"/>
                </a:cubicBezTo>
                <a:close/>
                <a:moveTo>
                  <a:pt x="6617873" y="5864048"/>
                </a:moveTo>
                <a:cubicBezTo>
                  <a:pt x="6619419" y="5863791"/>
                  <a:pt x="6620964" y="5863791"/>
                  <a:pt x="6621994" y="5864823"/>
                </a:cubicBezTo>
                <a:cubicBezTo>
                  <a:pt x="6621994" y="5866888"/>
                  <a:pt x="6624054" y="5868953"/>
                  <a:pt x="6624054" y="5875148"/>
                </a:cubicBezTo>
                <a:cubicBezTo>
                  <a:pt x="6615813" y="5976336"/>
                  <a:pt x="6615813" y="5976336"/>
                  <a:pt x="6615813" y="5976336"/>
                </a:cubicBezTo>
                <a:cubicBezTo>
                  <a:pt x="6615813" y="5980466"/>
                  <a:pt x="6613752" y="5982531"/>
                  <a:pt x="6611692" y="5984596"/>
                </a:cubicBezTo>
                <a:cubicBezTo>
                  <a:pt x="6607571" y="5986661"/>
                  <a:pt x="6605510" y="5986661"/>
                  <a:pt x="6601390" y="5984596"/>
                </a:cubicBezTo>
                <a:cubicBezTo>
                  <a:pt x="6510730" y="5939165"/>
                  <a:pt x="6510730" y="5939165"/>
                  <a:pt x="6510730" y="5939165"/>
                </a:cubicBezTo>
                <a:cubicBezTo>
                  <a:pt x="6506610" y="5939165"/>
                  <a:pt x="6504549" y="5937100"/>
                  <a:pt x="6502489" y="5932970"/>
                </a:cubicBezTo>
                <a:cubicBezTo>
                  <a:pt x="6502489" y="5930904"/>
                  <a:pt x="6504549" y="5928840"/>
                  <a:pt x="6506610" y="5926774"/>
                </a:cubicBezTo>
                <a:cubicBezTo>
                  <a:pt x="6537516" y="5893734"/>
                  <a:pt x="6570483" y="5875148"/>
                  <a:pt x="6613752" y="5864823"/>
                </a:cubicBezTo>
                <a:cubicBezTo>
                  <a:pt x="6614782" y="5864823"/>
                  <a:pt x="6616328" y="5864307"/>
                  <a:pt x="6617873" y="5864048"/>
                </a:cubicBezTo>
                <a:close/>
                <a:moveTo>
                  <a:pt x="6649186" y="5828859"/>
                </a:moveTo>
                <a:cubicBezTo>
                  <a:pt x="6529433" y="5828859"/>
                  <a:pt x="6432355" y="5926985"/>
                  <a:pt x="6432355" y="6048029"/>
                </a:cubicBezTo>
                <a:cubicBezTo>
                  <a:pt x="6432355" y="6169072"/>
                  <a:pt x="6529433" y="6267198"/>
                  <a:pt x="6649186" y="6267198"/>
                </a:cubicBezTo>
                <a:cubicBezTo>
                  <a:pt x="6768939" y="6267198"/>
                  <a:pt x="6866018" y="6169072"/>
                  <a:pt x="6866018" y="6048029"/>
                </a:cubicBezTo>
                <a:cubicBezTo>
                  <a:pt x="6866018" y="5926985"/>
                  <a:pt x="6768939" y="5828859"/>
                  <a:pt x="6649186" y="5828859"/>
                </a:cubicBezTo>
                <a:close/>
                <a:moveTo>
                  <a:pt x="6648602" y="5797300"/>
                </a:moveTo>
                <a:cubicBezTo>
                  <a:pt x="6784816" y="5797300"/>
                  <a:pt x="6895240" y="5909032"/>
                  <a:pt x="6895240" y="6046861"/>
                </a:cubicBezTo>
                <a:cubicBezTo>
                  <a:pt x="6895240" y="6184689"/>
                  <a:pt x="6784816" y="6296422"/>
                  <a:pt x="6648602" y="6296422"/>
                </a:cubicBezTo>
                <a:cubicBezTo>
                  <a:pt x="6512387" y="6296422"/>
                  <a:pt x="6401963" y="6184689"/>
                  <a:pt x="6401963" y="6046861"/>
                </a:cubicBezTo>
                <a:cubicBezTo>
                  <a:pt x="6401963" y="5909032"/>
                  <a:pt x="6512387" y="5797300"/>
                  <a:pt x="6648602" y="5797300"/>
                </a:cubicBezTo>
                <a:close/>
                <a:moveTo>
                  <a:pt x="6635678" y="5718724"/>
                </a:moveTo>
                <a:cubicBezTo>
                  <a:pt x="6627452" y="5733273"/>
                  <a:pt x="6623339" y="5751979"/>
                  <a:pt x="6623339" y="5768607"/>
                </a:cubicBezTo>
                <a:cubicBezTo>
                  <a:pt x="6619226" y="5768607"/>
                  <a:pt x="6602773" y="5770685"/>
                  <a:pt x="6600717" y="5772764"/>
                </a:cubicBezTo>
                <a:cubicBezTo>
                  <a:pt x="6594547" y="5754058"/>
                  <a:pt x="6586321" y="5737430"/>
                  <a:pt x="6573982" y="5727038"/>
                </a:cubicBezTo>
                <a:cubicBezTo>
                  <a:pt x="6573982" y="5724959"/>
                  <a:pt x="6573982" y="5724959"/>
                  <a:pt x="6573982" y="5724959"/>
                </a:cubicBezTo>
                <a:cubicBezTo>
                  <a:pt x="6571926" y="5727038"/>
                  <a:pt x="6571926" y="5727038"/>
                  <a:pt x="6571926" y="5727038"/>
                </a:cubicBezTo>
                <a:cubicBezTo>
                  <a:pt x="6565756" y="5727038"/>
                  <a:pt x="6557530" y="5729116"/>
                  <a:pt x="6551360" y="5731195"/>
                </a:cubicBezTo>
                <a:cubicBezTo>
                  <a:pt x="6551360" y="5733273"/>
                  <a:pt x="6551360" y="5733273"/>
                  <a:pt x="6551360" y="5733273"/>
                </a:cubicBezTo>
                <a:cubicBezTo>
                  <a:pt x="6549304" y="5741587"/>
                  <a:pt x="6547247" y="5749901"/>
                  <a:pt x="6547247" y="5758215"/>
                </a:cubicBezTo>
                <a:cubicBezTo>
                  <a:pt x="6547247" y="5768607"/>
                  <a:pt x="6549304" y="5776921"/>
                  <a:pt x="6551360" y="5785235"/>
                </a:cubicBezTo>
                <a:cubicBezTo>
                  <a:pt x="6549304" y="5785235"/>
                  <a:pt x="6532851" y="5793548"/>
                  <a:pt x="6530795" y="5793548"/>
                </a:cubicBezTo>
                <a:cubicBezTo>
                  <a:pt x="6520512" y="5778999"/>
                  <a:pt x="6508173" y="5764450"/>
                  <a:pt x="6493777" y="5758215"/>
                </a:cubicBezTo>
                <a:cubicBezTo>
                  <a:pt x="6493777" y="5756136"/>
                  <a:pt x="6493777" y="5756136"/>
                  <a:pt x="6493777" y="5756136"/>
                </a:cubicBezTo>
                <a:cubicBezTo>
                  <a:pt x="6491721" y="5756136"/>
                  <a:pt x="6491721" y="5756136"/>
                  <a:pt x="6491721" y="5756136"/>
                </a:cubicBezTo>
                <a:cubicBezTo>
                  <a:pt x="6485551" y="5760293"/>
                  <a:pt x="6479382" y="5764450"/>
                  <a:pt x="6473212" y="5768607"/>
                </a:cubicBezTo>
                <a:cubicBezTo>
                  <a:pt x="6473212" y="5768607"/>
                  <a:pt x="6473212" y="5770685"/>
                  <a:pt x="6473212" y="5770685"/>
                </a:cubicBezTo>
                <a:cubicBezTo>
                  <a:pt x="6473212" y="5787313"/>
                  <a:pt x="6477325" y="5803941"/>
                  <a:pt x="6485551" y="5820568"/>
                </a:cubicBezTo>
                <a:cubicBezTo>
                  <a:pt x="6483495" y="5822647"/>
                  <a:pt x="6471156" y="5830961"/>
                  <a:pt x="6469099" y="5833039"/>
                </a:cubicBezTo>
                <a:cubicBezTo>
                  <a:pt x="6456760" y="5820568"/>
                  <a:pt x="6440308" y="5810176"/>
                  <a:pt x="6425911" y="5806019"/>
                </a:cubicBezTo>
                <a:cubicBezTo>
                  <a:pt x="6423855" y="5806019"/>
                  <a:pt x="6423855" y="5806019"/>
                  <a:pt x="6423855" y="5806019"/>
                </a:cubicBezTo>
                <a:cubicBezTo>
                  <a:pt x="6423855" y="5808097"/>
                  <a:pt x="6423855" y="5808097"/>
                  <a:pt x="6423855" y="5808097"/>
                </a:cubicBezTo>
                <a:cubicBezTo>
                  <a:pt x="6417685" y="5810176"/>
                  <a:pt x="6411516" y="5816411"/>
                  <a:pt x="6407402" y="5822647"/>
                </a:cubicBezTo>
                <a:cubicBezTo>
                  <a:pt x="6407402" y="5824725"/>
                  <a:pt x="6407402" y="5824725"/>
                  <a:pt x="6407402" y="5824725"/>
                </a:cubicBezTo>
                <a:cubicBezTo>
                  <a:pt x="6411516" y="5839274"/>
                  <a:pt x="6421798" y="5855902"/>
                  <a:pt x="6434138" y="5870451"/>
                </a:cubicBezTo>
                <a:cubicBezTo>
                  <a:pt x="6432082" y="5870451"/>
                  <a:pt x="6421798" y="5885000"/>
                  <a:pt x="6419742" y="5887079"/>
                </a:cubicBezTo>
                <a:cubicBezTo>
                  <a:pt x="6405346" y="5878765"/>
                  <a:pt x="6386837" y="5874608"/>
                  <a:pt x="6370385" y="5874608"/>
                </a:cubicBezTo>
                <a:cubicBezTo>
                  <a:pt x="6368328" y="5874608"/>
                  <a:pt x="6368328" y="5874608"/>
                  <a:pt x="6368328" y="5874608"/>
                </a:cubicBezTo>
                <a:cubicBezTo>
                  <a:pt x="6364215" y="5878765"/>
                  <a:pt x="6360102" y="5887079"/>
                  <a:pt x="6358046" y="5893314"/>
                </a:cubicBezTo>
                <a:cubicBezTo>
                  <a:pt x="6358046" y="5895393"/>
                  <a:pt x="6358046" y="5895393"/>
                  <a:pt x="6358046" y="5895393"/>
                </a:cubicBezTo>
                <a:cubicBezTo>
                  <a:pt x="6366272" y="5909941"/>
                  <a:pt x="6378611" y="5922412"/>
                  <a:pt x="6395063" y="5932805"/>
                </a:cubicBezTo>
                <a:cubicBezTo>
                  <a:pt x="6393007" y="5934883"/>
                  <a:pt x="6386837" y="5949432"/>
                  <a:pt x="6386837" y="5951511"/>
                </a:cubicBezTo>
                <a:cubicBezTo>
                  <a:pt x="6368328" y="5947354"/>
                  <a:pt x="6349820" y="5947354"/>
                  <a:pt x="6335424" y="5951511"/>
                </a:cubicBezTo>
                <a:cubicBezTo>
                  <a:pt x="6333367" y="5951511"/>
                  <a:pt x="6333367" y="5951511"/>
                  <a:pt x="6333367" y="5951511"/>
                </a:cubicBezTo>
                <a:cubicBezTo>
                  <a:pt x="6333367" y="5953589"/>
                  <a:pt x="6333367" y="5953589"/>
                  <a:pt x="6333367" y="5953589"/>
                </a:cubicBezTo>
                <a:cubicBezTo>
                  <a:pt x="6331311" y="5959825"/>
                  <a:pt x="6329254" y="5968138"/>
                  <a:pt x="6327198" y="5974373"/>
                </a:cubicBezTo>
                <a:cubicBezTo>
                  <a:pt x="6329254" y="5976452"/>
                  <a:pt x="6329254" y="5976452"/>
                  <a:pt x="6329254" y="5976452"/>
                </a:cubicBezTo>
                <a:cubicBezTo>
                  <a:pt x="6339537" y="5986844"/>
                  <a:pt x="6355989" y="5997237"/>
                  <a:pt x="6372441" y="6001393"/>
                </a:cubicBezTo>
                <a:cubicBezTo>
                  <a:pt x="6372441" y="6003472"/>
                  <a:pt x="6370385" y="6022178"/>
                  <a:pt x="6370385" y="6024257"/>
                </a:cubicBezTo>
                <a:cubicBezTo>
                  <a:pt x="6351876" y="6024257"/>
                  <a:pt x="6333367" y="6028413"/>
                  <a:pt x="6321028" y="6036728"/>
                </a:cubicBezTo>
                <a:cubicBezTo>
                  <a:pt x="6318972" y="6036728"/>
                  <a:pt x="6318972" y="6036728"/>
                  <a:pt x="6318972" y="6036728"/>
                </a:cubicBezTo>
                <a:cubicBezTo>
                  <a:pt x="6318972" y="6038805"/>
                  <a:pt x="6318972" y="6038805"/>
                  <a:pt x="6318972" y="6038805"/>
                </a:cubicBezTo>
                <a:cubicBezTo>
                  <a:pt x="6318972" y="6040884"/>
                  <a:pt x="6318972" y="6045041"/>
                  <a:pt x="6318972" y="6049198"/>
                </a:cubicBezTo>
                <a:cubicBezTo>
                  <a:pt x="6318972" y="6053355"/>
                  <a:pt x="6318972" y="6057512"/>
                  <a:pt x="6318972" y="6059590"/>
                </a:cubicBezTo>
                <a:cubicBezTo>
                  <a:pt x="6318972" y="6061669"/>
                  <a:pt x="6318972" y="6061669"/>
                  <a:pt x="6318972" y="6061669"/>
                </a:cubicBezTo>
                <a:cubicBezTo>
                  <a:pt x="6321028" y="6061669"/>
                  <a:pt x="6321028" y="6061669"/>
                  <a:pt x="6321028" y="6061669"/>
                </a:cubicBezTo>
                <a:cubicBezTo>
                  <a:pt x="6333367" y="6069983"/>
                  <a:pt x="6351876" y="6074140"/>
                  <a:pt x="6370385" y="6074140"/>
                </a:cubicBezTo>
                <a:cubicBezTo>
                  <a:pt x="6370385" y="6078296"/>
                  <a:pt x="6372441" y="6094924"/>
                  <a:pt x="6374498" y="6097002"/>
                </a:cubicBezTo>
                <a:cubicBezTo>
                  <a:pt x="6355989" y="6103237"/>
                  <a:pt x="6339537" y="6111551"/>
                  <a:pt x="6329254" y="6124022"/>
                </a:cubicBezTo>
                <a:cubicBezTo>
                  <a:pt x="6327198" y="6124022"/>
                  <a:pt x="6327198" y="6124022"/>
                  <a:pt x="6327198" y="6124022"/>
                </a:cubicBezTo>
                <a:cubicBezTo>
                  <a:pt x="6327198" y="6126101"/>
                  <a:pt x="6327198" y="6126101"/>
                  <a:pt x="6327198" y="6126101"/>
                </a:cubicBezTo>
                <a:cubicBezTo>
                  <a:pt x="6329254" y="6132336"/>
                  <a:pt x="6331311" y="6140650"/>
                  <a:pt x="6333367" y="6146886"/>
                </a:cubicBezTo>
                <a:cubicBezTo>
                  <a:pt x="6335424" y="6146886"/>
                  <a:pt x="6335424" y="6146886"/>
                  <a:pt x="6335424" y="6146886"/>
                </a:cubicBezTo>
                <a:cubicBezTo>
                  <a:pt x="6349820" y="6153121"/>
                  <a:pt x="6370385" y="6151042"/>
                  <a:pt x="6386837" y="6146886"/>
                </a:cubicBezTo>
                <a:cubicBezTo>
                  <a:pt x="6386837" y="6148963"/>
                  <a:pt x="6395063" y="6165592"/>
                  <a:pt x="6395063" y="6167669"/>
                </a:cubicBezTo>
                <a:cubicBezTo>
                  <a:pt x="6380668" y="6175983"/>
                  <a:pt x="6366272" y="6190533"/>
                  <a:pt x="6358046" y="6205082"/>
                </a:cubicBezTo>
                <a:cubicBezTo>
                  <a:pt x="6358046" y="6207160"/>
                  <a:pt x="6358046" y="6207160"/>
                  <a:pt x="6358046" y="6207160"/>
                </a:cubicBezTo>
                <a:cubicBezTo>
                  <a:pt x="6360102" y="6211318"/>
                  <a:pt x="6366272" y="6219631"/>
                  <a:pt x="6370385" y="6225866"/>
                </a:cubicBezTo>
                <a:cubicBezTo>
                  <a:pt x="6386837" y="6225866"/>
                  <a:pt x="6405346" y="6221710"/>
                  <a:pt x="6421798" y="6211318"/>
                </a:cubicBezTo>
                <a:cubicBezTo>
                  <a:pt x="6421798" y="6213395"/>
                  <a:pt x="6432082" y="6227945"/>
                  <a:pt x="6434138" y="6230024"/>
                </a:cubicBezTo>
                <a:cubicBezTo>
                  <a:pt x="6421798" y="6242494"/>
                  <a:pt x="6411516" y="6259121"/>
                  <a:pt x="6407402" y="6275750"/>
                </a:cubicBezTo>
                <a:cubicBezTo>
                  <a:pt x="6409459" y="6277827"/>
                  <a:pt x="6409459" y="6277827"/>
                  <a:pt x="6409459" y="6277827"/>
                </a:cubicBezTo>
                <a:cubicBezTo>
                  <a:pt x="6411516" y="6281985"/>
                  <a:pt x="6419742" y="6288220"/>
                  <a:pt x="6423855" y="6292377"/>
                </a:cubicBezTo>
                <a:cubicBezTo>
                  <a:pt x="6425911" y="6292377"/>
                  <a:pt x="6425911" y="6292377"/>
                  <a:pt x="6425911" y="6292377"/>
                </a:cubicBezTo>
                <a:cubicBezTo>
                  <a:pt x="6440308" y="6288220"/>
                  <a:pt x="6456760" y="6279906"/>
                  <a:pt x="6471156" y="6265357"/>
                </a:cubicBezTo>
                <a:cubicBezTo>
                  <a:pt x="6473212" y="6267436"/>
                  <a:pt x="6485551" y="6277827"/>
                  <a:pt x="6487608" y="6279906"/>
                </a:cubicBezTo>
                <a:cubicBezTo>
                  <a:pt x="6479382" y="6296533"/>
                  <a:pt x="6475269" y="6313162"/>
                  <a:pt x="6475269" y="6329789"/>
                </a:cubicBezTo>
                <a:cubicBezTo>
                  <a:pt x="6475269" y="6329789"/>
                  <a:pt x="6475269" y="6331868"/>
                  <a:pt x="6475269" y="6331868"/>
                </a:cubicBezTo>
                <a:cubicBezTo>
                  <a:pt x="6479382" y="6336024"/>
                  <a:pt x="6487608" y="6340182"/>
                  <a:pt x="6493777" y="6342259"/>
                </a:cubicBezTo>
                <a:cubicBezTo>
                  <a:pt x="6493777" y="6344338"/>
                  <a:pt x="6493777" y="6344338"/>
                  <a:pt x="6493777" y="6344338"/>
                </a:cubicBezTo>
                <a:cubicBezTo>
                  <a:pt x="6495834" y="6342259"/>
                  <a:pt x="6495834" y="6342259"/>
                  <a:pt x="6495834" y="6342259"/>
                </a:cubicBezTo>
                <a:cubicBezTo>
                  <a:pt x="6510230" y="6333946"/>
                  <a:pt x="6522569" y="6321475"/>
                  <a:pt x="6532851" y="6304848"/>
                </a:cubicBezTo>
                <a:cubicBezTo>
                  <a:pt x="6534908" y="6306926"/>
                  <a:pt x="6549304" y="6313162"/>
                  <a:pt x="6551360" y="6313162"/>
                </a:cubicBezTo>
                <a:cubicBezTo>
                  <a:pt x="6549304" y="6321475"/>
                  <a:pt x="6549304" y="6331868"/>
                  <a:pt x="6549304" y="6340182"/>
                </a:cubicBezTo>
                <a:cubicBezTo>
                  <a:pt x="6549304" y="6348495"/>
                  <a:pt x="6549304" y="6358888"/>
                  <a:pt x="6551360" y="6365123"/>
                </a:cubicBezTo>
                <a:cubicBezTo>
                  <a:pt x="6551360" y="6367201"/>
                  <a:pt x="6551360" y="6367201"/>
                  <a:pt x="6551360" y="6367201"/>
                </a:cubicBezTo>
                <a:cubicBezTo>
                  <a:pt x="6553417" y="6367201"/>
                  <a:pt x="6553417" y="6367201"/>
                  <a:pt x="6553417" y="6367201"/>
                </a:cubicBezTo>
                <a:cubicBezTo>
                  <a:pt x="6557530" y="6369280"/>
                  <a:pt x="6567812" y="6371358"/>
                  <a:pt x="6573982" y="6373436"/>
                </a:cubicBezTo>
                <a:cubicBezTo>
                  <a:pt x="6576039" y="6373436"/>
                  <a:pt x="6576039" y="6373436"/>
                  <a:pt x="6576039" y="6373436"/>
                </a:cubicBezTo>
                <a:cubicBezTo>
                  <a:pt x="6586321" y="6360966"/>
                  <a:pt x="6596604" y="6344338"/>
                  <a:pt x="6600717" y="6327711"/>
                </a:cubicBezTo>
                <a:cubicBezTo>
                  <a:pt x="6602773" y="6327711"/>
                  <a:pt x="6621282" y="6329789"/>
                  <a:pt x="6623339" y="6329789"/>
                </a:cubicBezTo>
                <a:cubicBezTo>
                  <a:pt x="6623339" y="6348495"/>
                  <a:pt x="6627452" y="6367201"/>
                  <a:pt x="6635678" y="6381750"/>
                </a:cubicBezTo>
                <a:cubicBezTo>
                  <a:pt x="6637734" y="6381750"/>
                  <a:pt x="6637734" y="6381750"/>
                  <a:pt x="6637734" y="6381750"/>
                </a:cubicBezTo>
                <a:cubicBezTo>
                  <a:pt x="6643904" y="6381750"/>
                  <a:pt x="6654187" y="6381750"/>
                  <a:pt x="6658300" y="6381750"/>
                </a:cubicBezTo>
                <a:cubicBezTo>
                  <a:pt x="6660357" y="6381750"/>
                  <a:pt x="6660357" y="6381750"/>
                  <a:pt x="6660357" y="6381750"/>
                </a:cubicBezTo>
                <a:cubicBezTo>
                  <a:pt x="6668583" y="6367201"/>
                  <a:pt x="6672696" y="6348495"/>
                  <a:pt x="6674753" y="6329789"/>
                </a:cubicBezTo>
                <a:cubicBezTo>
                  <a:pt x="6676809" y="6329789"/>
                  <a:pt x="6693261" y="6327711"/>
                  <a:pt x="6695318" y="6327711"/>
                </a:cubicBezTo>
                <a:cubicBezTo>
                  <a:pt x="6699431" y="6344338"/>
                  <a:pt x="6709714" y="6360966"/>
                  <a:pt x="6722053" y="6373436"/>
                </a:cubicBezTo>
                <a:cubicBezTo>
                  <a:pt x="6728222" y="6371358"/>
                  <a:pt x="6738505" y="6369280"/>
                  <a:pt x="6742618" y="6367201"/>
                </a:cubicBezTo>
                <a:cubicBezTo>
                  <a:pt x="6744675" y="6367201"/>
                  <a:pt x="6744675" y="6367201"/>
                  <a:pt x="6744675" y="6367201"/>
                </a:cubicBezTo>
                <a:cubicBezTo>
                  <a:pt x="6746731" y="6358888"/>
                  <a:pt x="6746731" y="6348495"/>
                  <a:pt x="6746731" y="6340182"/>
                </a:cubicBezTo>
                <a:cubicBezTo>
                  <a:pt x="6746731" y="6331868"/>
                  <a:pt x="6746731" y="6321475"/>
                  <a:pt x="6744675" y="6313162"/>
                </a:cubicBezTo>
                <a:cubicBezTo>
                  <a:pt x="6746731" y="6313162"/>
                  <a:pt x="6763183" y="6306926"/>
                  <a:pt x="6765240" y="6304848"/>
                </a:cubicBezTo>
                <a:cubicBezTo>
                  <a:pt x="6773466" y="6321475"/>
                  <a:pt x="6787862" y="6333946"/>
                  <a:pt x="6802257" y="6342259"/>
                </a:cubicBezTo>
                <a:cubicBezTo>
                  <a:pt x="6808427" y="6340182"/>
                  <a:pt x="6816653" y="6336024"/>
                  <a:pt x="6820766" y="6331868"/>
                </a:cubicBezTo>
                <a:cubicBezTo>
                  <a:pt x="6822823" y="6329789"/>
                  <a:pt x="6822823" y="6329789"/>
                  <a:pt x="6822823" y="6329789"/>
                </a:cubicBezTo>
                <a:cubicBezTo>
                  <a:pt x="6822823" y="6329789"/>
                  <a:pt x="6822823" y="6329789"/>
                  <a:pt x="6822823" y="6327711"/>
                </a:cubicBezTo>
                <a:cubicBezTo>
                  <a:pt x="6822823" y="6313162"/>
                  <a:pt x="6816653" y="6294456"/>
                  <a:pt x="6808427" y="6279906"/>
                </a:cubicBezTo>
                <a:cubicBezTo>
                  <a:pt x="6810484" y="6277827"/>
                  <a:pt x="6822823" y="6267436"/>
                  <a:pt x="6824879" y="6265357"/>
                </a:cubicBezTo>
                <a:cubicBezTo>
                  <a:pt x="6839275" y="6277827"/>
                  <a:pt x="6855727" y="6288220"/>
                  <a:pt x="6870123" y="6292377"/>
                </a:cubicBezTo>
                <a:cubicBezTo>
                  <a:pt x="6872180" y="6292377"/>
                  <a:pt x="6872180" y="6292377"/>
                  <a:pt x="6872180" y="6292377"/>
                </a:cubicBezTo>
                <a:cubicBezTo>
                  <a:pt x="6876293" y="6288220"/>
                  <a:pt x="6884519" y="6281985"/>
                  <a:pt x="6886576" y="6275750"/>
                </a:cubicBezTo>
                <a:cubicBezTo>
                  <a:pt x="6888632" y="6275750"/>
                  <a:pt x="6888632" y="6275750"/>
                  <a:pt x="6888632" y="6275750"/>
                </a:cubicBezTo>
                <a:cubicBezTo>
                  <a:pt x="6884519" y="6259121"/>
                  <a:pt x="6874236" y="6242494"/>
                  <a:pt x="6861897" y="6230024"/>
                </a:cubicBezTo>
                <a:cubicBezTo>
                  <a:pt x="6863954" y="6227945"/>
                  <a:pt x="6874236" y="6213395"/>
                  <a:pt x="6874236" y="6211318"/>
                </a:cubicBezTo>
                <a:cubicBezTo>
                  <a:pt x="6890689" y="6219631"/>
                  <a:pt x="6909198" y="6225866"/>
                  <a:pt x="6925650" y="6225866"/>
                </a:cubicBezTo>
                <a:cubicBezTo>
                  <a:pt x="6927706" y="6223788"/>
                  <a:pt x="6927706" y="6223788"/>
                  <a:pt x="6927706" y="6223788"/>
                </a:cubicBezTo>
                <a:cubicBezTo>
                  <a:pt x="6929763" y="6219631"/>
                  <a:pt x="6935933" y="6211318"/>
                  <a:pt x="6937989" y="6205082"/>
                </a:cubicBezTo>
                <a:cubicBezTo>
                  <a:pt x="6937989" y="6203004"/>
                  <a:pt x="6937989" y="6203004"/>
                  <a:pt x="6937989" y="6203004"/>
                </a:cubicBezTo>
                <a:cubicBezTo>
                  <a:pt x="6929763" y="6190533"/>
                  <a:pt x="6915367" y="6175983"/>
                  <a:pt x="6900972" y="6167669"/>
                </a:cubicBezTo>
                <a:cubicBezTo>
                  <a:pt x="6900972" y="6163513"/>
                  <a:pt x="6909198" y="6148963"/>
                  <a:pt x="6909198" y="6146886"/>
                </a:cubicBezTo>
                <a:cubicBezTo>
                  <a:pt x="6925650" y="6151042"/>
                  <a:pt x="6944159" y="6151042"/>
                  <a:pt x="6960611" y="6146886"/>
                </a:cubicBezTo>
                <a:cubicBezTo>
                  <a:pt x="6962667" y="6146886"/>
                  <a:pt x="6962667" y="6146886"/>
                  <a:pt x="6962667" y="6146886"/>
                </a:cubicBezTo>
                <a:cubicBezTo>
                  <a:pt x="6964724" y="6140650"/>
                  <a:pt x="6966781" y="6132336"/>
                  <a:pt x="6966781" y="6126101"/>
                </a:cubicBezTo>
                <a:cubicBezTo>
                  <a:pt x="6966781" y="6124022"/>
                  <a:pt x="6966781" y="6124022"/>
                  <a:pt x="6966781" y="6124022"/>
                </a:cubicBezTo>
                <a:cubicBezTo>
                  <a:pt x="6956498" y="6111551"/>
                  <a:pt x="6940046" y="6103237"/>
                  <a:pt x="6921537" y="6097002"/>
                </a:cubicBezTo>
                <a:cubicBezTo>
                  <a:pt x="6923593" y="6094924"/>
                  <a:pt x="6925650" y="6078296"/>
                  <a:pt x="6925650" y="6076218"/>
                </a:cubicBezTo>
                <a:cubicBezTo>
                  <a:pt x="6944159" y="6076218"/>
                  <a:pt x="6962667" y="6069983"/>
                  <a:pt x="6975007" y="6061669"/>
                </a:cubicBezTo>
                <a:cubicBezTo>
                  <a:pt x="6977063" y="6061669"/>
                  <a:pt x="6977063" y="6061669"/>
                  <a:pt x="6977063" y="6061669"/>
                </a:cubicBezTo>
                <a:cubicBezTo>
                  <a:pt x="6977063" y="6057512"/>
                  <a:pt x="6977063" y="6053355"/>
                  <a:pt x="6977063" y="6049198"/>
                </a:cubicBezTo>
                <a:cubicBezTo>
                  <a:pt x="6977063" y="6047119"/>
                  <a:pt x="6977063" y="6042963"/>
                  <a:pt x="6977063" y="6038805"/>
                </a:cubicBezTo>
                <a:cubicBezTo>
                  <a:pt x="6975007" y="6038805"/>
                  <a:pt x="6975007" y="6038805"/>
                  <a:pt x="6975007" y="6038805"/>
                </a:cubicBezTo>
                <a:cubicBezTo>
                  <a:pt x="6962667" y="6030492"/>
                  <a:pt x="6944159" y="6024257"/>
                  <a:pt x="6925650" y="6024257"/>
                </a:cubicBezTo>
                <a:cubicBezTo>
                  <a:pt x="6925650" y="6022178"/>
                  <a:pt x="6923593" y="6005551"/>
                  <a:pt x="6923593" y="6003472"/>
                </a:cubicBezTo>
                <a:cubicBezTo>
                  <a:pt x="6940046" y="5997237"/>
                  <a:pt x="6956498" y="5988923"/>
                  <a:pt x="6966781" y="5976452"/>
                </a:cubicBezTo>
                <a:cubicBezTo>
                  <a:pt x="6968837" y="5976452"/>
                  <a:pt x="6968837" y="5976452"/>
                  <a:pt x="6968837" y="5976452"/>
                </a:cubicBezTo>
                <a:cubicBezTo>
                  <a:pt x="6968837" y="5974373"/>
                  <a:pt x="6968837" y="5974373"/>
                  <a:pt x="6968837" y="5974373"/>
                </a:cubicBezTo>
                <a:cubicBezTo>
                  <a:pt x="6966781" y="5968138"/>
                  <a:pt x="6964724" y="5959825"/>
                  <a:pt x="6962667" y="5953589"/>
                </a:cubicBezTo>
                <a:cubicBezTo>
                  <a:pt x="6960611" y="5953589"/>
                  <a:pt x="6960611" y="5953589"/>
                  <a:pt x="6960611" y="5953589"/>
                </a:cubicBezTo>
                <a:cubicBezTo>
                  <a:pt x="6946215" y="5947354"/>
                  <a:pt x="6927706" y="5949432"/>
                  <a:pt x="6909198" y="5953589"/>
                </a:cubicBezTo>
                <a:cubicBezTo>
                  <a:pt x="6909198" y="5951511"/>
                  <a:pt x="6903028" y="5934883"/>
                  <a:pt x="6900972" y="5932805"/>
                </a:cubicBezTo>
                <a:cubicBezTo>
                  <a:pt x="6917424" y="5924491"/>
                  <a:pt x="6929763" y="5909941"/>
                  <a:pt x="6937989" y="5895393"/>
                </a:cubicBezTo>
                <a:cubicBezTo>
                  <a:pt x="6937989" y="5893314"/>
                  <a:pt x="6937989" y="5893314"/>
                  <a:pt x="6937989" y="5893314"/>
                </a:cubicBezTo>
                <a:cubicBezTo>
                  <a:pt x="6935933" y="5889157"/>
                  <a:pt x="6931820" y="5880843"/>
                  <a:pt x="6927706" y="5874608"/>
                </a:cubicBezTo>
                <a:cubicBezTo>
                  <a:pt x="6925650" y="5874608"/>
                  <a:pt x="6925650" y="5874608"/>
                  <a:pt x="6925650" y="5874608"/>
                </a:cubicBezTo>
                <a:cubicBezTo>
                  <a:pt x="6909198" y="5874608"/>
                  <a:pt x="6890689" y="5878765"/>
                  <a:pt x="6876293" y="5887079"/>
                </a:cubicBezTo>
                <a:cubicBezTo>
                  <a:pt x="6874236" y="5887079"/>
                  <a:pt x="6863954" y="5872529"/>
                  <a:pt x="6861897" y="5870451"/>
                </a:cubicBezTo>
                <a:cubicBezTo>
                  <a:pt x="6874236" y="5857980"/>
                  <a:pt x="6884519" y="5841353"/>
                  <a:pt x="6888632" y="5824725"/>
                </a:cubicBezTo>
                <a:cubicBezTo>
                  <a:pt x="6888632" y="5822647"/>
                  <a:pt x="6888632" y="5822647"/>
                  <a:pt x="6888632" y="5822647"/>
                </a:cubicBezTo>
                <a:cubicBezTo>
                  <a:pt x="6884519" y="5818490"/>
                  <a:pt x="6878350" y="5812254"/>
                  <a:pt x="6872180" y="5808097"/>
                </a:cubicBezTo>
                <a:cubicBezTo>
                  <a:pt x="6855727" y="5812254"/>
                  <a:pt x="6839275" y="5820568"/>
                  <a:pt x="6826936" y="5833039"/>
                </a:cubicBezTo>
                <a:cubicBezTo>
                  <a:pt x="6824879" y="5833039"/>
                  <a:pt x="6810484" y="5822647"/>
                  <a:pt x="6808427" y="5820568"/>
                </a:cubicBezTo>
                <a:cubicBezTo>
                  <a:pt x="6818710" y="5803941"/>
                  <a:pt x="6822823" y="5787313"/>
                  <a:pt x="6822823" y="5770685"/>
                </a:cubicBezTo>
                <a:cubicBezTo>
                  <a:pt x="6822823" y="5770685"/>
                  <a:pt x="6822823" y="5768607"/>
                  <a:pt x="6822823" y="5768607"/>
                </a:cubicBezTo>
                <a:cubicBezTo>
                  <a:pt x="6816653" y="5764450"/>
                  <a:pt x="6808427" y="5760293"/>
                  <a:pt x="6804314" y="5758215"/>
                </a:cubicBezTo>
                <a:cubicBezTo>
                  <a:pt x="6802257" y="5756136"/>
                  <a:pt x="6802257" y="5756136"/>
                  <a:pt x="6802257" y="5756136"/>
                </a:cubicBezTo>
                <a:cubicBezTo>
                  <a:pt x="6802257" y="5758215"/>
                  <a:pt x="6802257" y="5758215"/>
                  <a:pt x="6802257" y="5758215"/>
                </a:cubicBezTo>
                <a:cubicBezTo>
                  <a:pt x="6787862" y="5764450"/>
                  <a:pt x="6775523" y="5778999"/>
                  <a:pt x="6765240" y="5793548"/>
                </a:cubicBezTo>
                <a:cubicBezTo>
                  <a:pt x="6763183" y="5793548"/>
                  <a:pt x="6746731" y="5787313"/>
                  <a:pt x="6744675" y="5785235"/>
                </a:cubicBezTo>
                <a:cubicBezTo>
                  <a:pt x="6746731" y="5776921"/>
                  <a:pt x="6748788" y="5768607"/>
                  <a:pt x="6748788" y="5758215"/>
                </a:cubicBezTo>
                <a:cubicBezTo>
                  <a:pt x="6748788" y="5749901"/>
                  <a:pt x="6746731" y="5741587"/>
                  <a:pt x="6744675" y="5733273"/>
                </a:cubicBezTo>
                <a:cubicBezTo>
                  <a:pt x="6744675" y="5731195"/>
                  <a:pt x="6744675" y="5731195"/>
                  <a:pt x="6744675" y="5731195"/>
                </a:cubicBezTo>
                <a:cubicBezTo>
                  <a:pt x="6742618" y="5731195"/>
                  <a:pt x="6742618" y="5731195"/>
                  <a:pt x="6742618" y="5731195"/>
                </a:cubicBezTo>
                <a:cubicBezTo>
                  <a:pt x="6738505" y="5729116"/>
                  <a:pt x="6730279" y="5727038"/>
                  <a:pt x="6722053" y="5727038"/>
                </a:cubicBezTo>
                <a:cubicBezTo>
                  <a:pt x="6709714" y="5737430"/>
                  <a:pt x="6699431" y="5754058"/>
                  <a:pt x="6695318" y="5772764"/>
                </a:cubicBezTo>
                <a:cubicBezTo>
                  <a:pt x="6693261" y="5770685"/>
                  <a:pt x="6676809" y="5768607"/>
                  <a:pt x="6672696" y="5768607"/>
                </a:cubicBezTo>
                <a:cubicBezTo>
                  <a:pt x="6672696" y="5751979"/>
                  <a:pt x="6668583" y="5733273"/>
                  <a:pt x="6660357" y="5718724"/>
                </a:cubicBezTo>
                <a:cubicBezTo>
                  <a:pt x="6658300" y="5718724"/>
                  <a:pt x="6658300" y="5718724"/>
                  <a:pt x="6658300" y="5718724"/>
                </a:cubicBezTo>
                <a:cubicBezTo>
                  <a:pt x="6652131" y="5716645"/>
                  <a:pt x="6643904" y="5716645"/>
                  <a:pt x="6637734" y="5718724"/>
                </a:cubicBezTo>
                <a:cubicBezTo>
                  <a:pt x="6635678" y="5718724"/>
                  <a:pt x="6635678" y="5718724"/>
                  <a:pt x="6635678" y="5718724"/>
                </a:cubicBezTo>
                <a:close/>
                <a:moveTo>
                  <a:pt x="0" y="0"/>
                </a:moveTo>
                <a:lnTo>
                  <a:pt x="12192000" y="0"/>
                </a:lnTo>
                <a:lnTo>
                  <a:pt x="12192000" y="6858000"/>
                </a:lnTo>
                <a:lnTo>
                  <a:pt x="4539049" y="6858000"/>
                </a:lnTo>
                <a:lnTo>
                  <a:pt x="0" y="6858000"/>
                </a:lnTo>
                <a:lnTo>
                  <a:pt x="0" y="6273113"/>
                </a:lnTo>
                <a:close/>
              </a:path>
            </a:pathLst>
          </a:custGeom>
          <a:solidFill>
            <a:srgbClr val="48595D">
              <a:alpha val="70000"/>
            </a:srgbClr>
          </a:solidFill>
        </p:spPr>
        <p:txBody>
          <a:bodyPr wrap="square" tIns="3474720">
            <a:noAutofit/>
          </a:bodyPr>
          <a:lstStyle>
            <a:lvl1pPr marL="0" indent="0" algn="ctr">
              <a:buNone/>
              <a:defRPr sz="4400" b="1" cap="all" baseline="0">
                <a:solidFill>
                  <a:schemeClr val="bg1"/>
                </a:solidFill>
                <a:latin typeface="+mj-lt"/>
              </a:defRPr>
            </a:lvl1pPr>
            <a:lvl2pPr marL="0" indent="0" algn="ctr">
              <a:buNone/>
              <a:defRPr sz="2000">
                <a:solidFill>
                  <a:schemeClr val="bg1"/>
                </a:solidFill>
              </a:defRPr>
            </a:lvl2pPr>
            <a:lvl3pPr>
              <a:defRPr sz="1800"/>
            </a:lvl3pPr>
            <a:lvl4pPr>
              <a:defRPr sz="1600"/>
            </a:lvl4pPr>
            <a:lvl5pPr>
              <a:defRPr sz="1600"/>
            </a:lvl5pPr>
          </a:lstStyle>
          <a:p>
            <a:pPr lvl="0"/>
            <a:r>
              <a:rPr lang="en-US"/>
              <a:t>Title</a:t>
            </a:r>
          </a:p>
        </p:txBody>
      </p:sp>
      <p:sp>
        <p:nvSpPr>
          <p:cNvPr id="3" name="Subtitle 2">
            <a:extLst>
              <a:ext uri="{FF2B5EF4-FFF2-40B4-BE49-F238E27FC236}">
                <a16:creationId xmlns:a16="http://schemas.microsoft.com/office/drawing/2014/main" id="{68C54DFB-92F7-41E0-897D-1D2F9A85707F}"/>
              </a:ext>
            </a:extLst>
          </p:cNvPr>
          <p:cNvSpPr>
            <a:spLocks noGrp="1"/>
          </p:cNvSpPr>
          <p:nvPr>
            <p:ph type="subTitle" idx="1"/>
          </p:nvPr>
        </p:nvSpPr>
        <p:spPr>
          <a:xfrm>
            <a:off x="829733" y="4174066"/>
            <a:ext cx="10532534" cy="465667"/>
          </a:xfrm>
        </p:spPr>
        <p:txBody>
          <a:bodyPr/>
          <a:lstStyle>
            <a:lvl1pPr marL="0" indent="0" algn="ctr">
              <a:buNone/>
              <a:defRPr sz="2400">
                <a:solidFill>
                  <a:srgbClr val="01B0E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lide Number Placeholder 5">
            <a:extLst>
              <a:ext uri="{FF2B5EF4-FFF2-40B4-BE49-F238E27FC236}">
                <a16:creationId xmlns:a16="http://schemas.microsoft.com/office/drawing/2014/main" id="{5130B4A2-183C-4739-A12D-8649A5A9BAC2}"/>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bg1"/>
                </a:solidFill>
              </a:defRPr>
            </a:lvl1pPr>
          </a:lstStyle>
          <a:p>
            <a:fld id="{97A94E25-127B-4C48-AF96-44BA7B823777}" type="slidenum">
              <a:rPr lang="en-US" smtClean="0"/>
              <a:pPr/>
              <a:t>‹N°›</a:t>
            </a:fld>
            <a:endParaRPr lang="en-US" dirty="0"/>
          </a:p>
        </p:txBody>
      </p:sp>
    </p:spTree>
    <p:extLst>
      <p:ext uri="{BB962C8B-B14F-4D97-AF65-F5344CB8AC3E}">
        <p14:creationId xmlns:p14="http://schemas.microsoft.com/office/powerpoint/2010/main" val="4198512606"/>
      </p:ext>
    </p:extLst>
  </p:cSld>
  <p:clrMapOvr>
    <a:masterClrMapping/>
  </p:clrMapOvr>
  <p:extLst>
    <p:ext uri="{DCECCB84-F9BA-43D5-87BE-67443E8EF086}">
      <p15:sldGuideLst xmlns:p15="http://schemas.microsoft.com/office/powerpoint/2012/main">
        <p15:guide id="1" orient="horz" pos="249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0999" y="2436811"/>
            <a:ext cx="11506199" cy="3836989"/>
          </a:xfrm>
        </p:spPr>
        <p:txBody>
          <a:bodyPr>
            <a:normAutofit/>
          </a:bodyPr>
          <a:lstStyle>
            <a:lvl1pPr>
              <a:defRPr sz="2400">
                <a:solidFill>
                  <a:srgbClr val="333333"/>
                </a:solidFill>
              </a:defRPr>
            </a:lvl1pPr>
            <a:lvl2pPr marL="457200" indent="-228600">
              <a:defRPr sz="2000">
                <a:solidFill>
                  <a:srgbClr val="333333"/>
                </a:solidFill>
              </a:defRPr>
            </a:lvl2pPr>
            <a:lvl3pPr marL="685800" indent="-228600">
              <a:defRPr sz="1800">
                <a:solidFill>
                  <a:srgbClr val="333333"/>
                </a:solidFill>
              </a:defRPr>
            </a:lvl3pPr>
            <a:lvl4pPr marL="914400" indent="-228600">
              <a:defRPr sz="1600">
                <a:solidFill>
                  <a:srgbClr val="333333"/>
                </a:solidFill>
              </a:defRPr>
            </a:lvl4pPr>
            <a:lvl5pPr marL="1143000" indent="-228600">
              <a:defRPr sz="16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a:extLst>
              <a:ext uri="{FF2B5EF4-FFF2-40B4-BE49-F238E27FC236}">
                <a16:creationId xmlns:a16="http://schemas.microsoft.com/office/drawing/2014/main" id="{11B1EC5A-E690-43D2-A0E3-D50BD6A53AFE}"/>
              </a:ext>
            </a:extLst>
          </p:cNvPr>
          <p:cNvSpPr>
            <a:spLocks noGrp="1"/>
          </p:cNvSpPr>
          <p:nvPr>
            <p:ph type="subTitle" idx="13"/>
          </p:nvPr>
        </p:nvSpPr>
        <p:spPr>
          <a:xfrm>
            <a:off x="380999" y="1796132"/>
            <a:ext cx="11506199" cy="615279"/>
          </a:xfrm>
        </p:spPr>
        <p:txBody>
          <a:bodyPr>
            <a:normAutofit/>
          </a:bodyPr>
          <a:lstStyle>
            <a:lvl1pPr marL="0" indent="0" algn="l">
              <a:buNone/>
              <a:defRPr sz="2400" b="1" cap="all" baseline="0">
                <a:solidFill>
                  <a:srgbClr val="33333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hidden="1">
            <a:extLst>
              <a:ext uri="{FF2B5EF4-FFF2-40B4-BE49-F238E27FC236}">
                <a16:creationId xmlns:a16="http://schemas.microsoft.com/office/drawing/2014/main" id="{C429B5C5-40F0-413F-82DE-781C809F82A3}"/>
              </a:ext>
            </a:extLst>
          </p:cNvPr>
          <p:cNvSpPr txBox="1"/>
          <p:nvPr userDrawn="1"/>
        </p:nvSpPr>
        <p:spPr>
          <a:xfrm>
            <a:off x="0" y="6673334"/>
            <a:ext cx="9144000" cy="184666"/>
          </a:xfrm>
          <a:prstGeom prst="rect">
            <a:avLst/>
          </a:prstGeom>
          <a:noFill/>
        </p:spPr>
        <p:txBody>
          <a:bodyPr wrap="square" rtlCol="0">
            <a:spAutoFit/>
          </a:bodyPr>
          <a:lstStyle/>
          <a:p>
            <a:r>
              <a:rPr lang="en-US" sz="600" dirty="0">
                <a:solidFill>
                  <a:schemeClr val="bg2">
                    <a:lumMod val="75000"/>
                  </a:schemeClr>
                </a:solidFill>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FD10926E-D815-4592-97B7-8EE7A9786ACB}"/>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fld id="{97A94E25-127B-4C48-AF96-44BA7B823777}" type="slidenum">
              <a:rPr lang="en-US" smtClean="0"/>
              <a:pPr/>
              <a:t>‹N°›</a:t>
            </a:fld>
            <a:endParaRPr lang="en-US" dirty="0"/>
          </a:p>
        </p:txBody>
      </p:sp>
    </p:spTree>
    <p:extLst>
      <p:ext uri="{BB962C8B-B14F-4D97-AF65-F5344CB8AC3E}">
        <p14:creationId xmlns:p14="http://schemas.microsoft.com/office/powerpoint/2010/main" val="38756265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defTabSz="914400">
              <a:defRPr/>
            </a:lvl1pPr>
          </a:lstStyle>
          <a:p>
            <a:pPr>
              <a:defRPr/>
            </a:pPr>
            <a:fld id="{3445BD1D-7F01-4766-9D76-15116978EDA8}" type="slidenum">
              <a:rPr lang="en-US"/>
              <a:pPr>
                <a:defRPr/>
              </a:pPr>
              <a:t>‹N°›</a:t>
            </a:fld>
            <a:endParaRPr lang="en-US" dirty="0"/>
          </a:p>
        </p:txBody>
      </p:sp>
    </p:spTree>
    <p:extLst>
      <p:ext uri="{BB962C8B-B14F-4D97-AF65-F5344CB8AC3E}">
        <p14:creationId xmlns:p14="http://schemas.microsoft.com/office/powerpoint/2010/main" val="6721601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defTabSz="914400">
              <a:defRPr/>
            </a:lvl1pPr>
          </a:lstStyle>
          <a:p>
            <a:pPr>
              <a:defRPr/>
            </a:pPr>
            <a:fld id="{9B8F7D12-62DE-453E-A7D6-231232E39030}" type="slidenum">
              <a:rPr lang="en-US"/>
              <a:pPr>
                <a:defRPr/>
              </a:pPr>
              <a:t>‹N°›</a:t>
            </a:fld>
            <a:endParaRPr lang="en-US" dirty="0"/>
          </a:p>
        </p:txBody>
      </p:sp>
    </p:spTree>
    <p:extLst>
      <p:ext uri="{BB962C8B-B14F-4D97-AF65-F5344CB8AC3E}">
        <p14:creationId xmlns:p14="http://schemas.microsoft.com/office/powerpoint/2010/main" val="37673939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AB7B73-BD1C-4B9C-B436-1503E9DFE39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7B985E6-193A-4DE1-864D-6BF29B3B433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0D91ECE-8418-4A8A-8D82-B91C36FECF61}"/>
              </a:ext>
            </a:extLst>
          </p:cNvPr>
          <p:cNvSpPr>
            <a:spLocks noGrp="1"/>
          </p:cNvSpPr>
          <p:nvPr>
            <p:ph type="dt" sz="half" idx="10"/>
          </p:nvPr>
        </p:nvSpPr>
        <p:spPr/>
        <p:txBody>
          <a:bodyPr/>
          <a:lstStyle/>
          <a:p>
            <a:fld id="{CD5C7893-49CE-480E-8E0A-E431E7B609A8}" type="datetimeFigureOut">
              <a:rPr lang="en-GB" smtClean="0"/>
              <a:t>17/09/2023</a:t>
            </a:fld>
            <a:endParaRPr lang="en-GB"/>
          </a:p>
        </p:txBody>
      </p:sp>
      <p:sp>
        <p:nvSpPr>
          <p:cNvPr id="5" name="Footer Placeholder 4">
            <a:extLst>
              <a:ext uri="{FF2B5EF4-FFF2-40B4-BE49-F238E27FC236}">
                <a16:creationId xmlns:a16="http://schemas.microsoft.com/office/drawing/2014/main" id="{1E826897-F522-48F0-9CA2-4CB606A195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A78F42-479F-4460-8616-63CD7D5E9F7A}"/>
              </a:ext>
            </a:extLst>
          </p:cNvPr>
          <p:cNvSpPr>
            <a:spLocks noGrp="1"/>
          </p:cNvSpPr>
          <p:nvPr>
            <p:ph type="sldNum" sz="quarter" idx="12"/>
          </p:nvPr>
        </p:nvSpPr>
        <p:spPr/>
        <p:txBody>
          <a:bodyPr/>
          <a:lstStyle/>
          <a:p>
            <a:fld id="{B442A9C5-C94E-4A83-9C6E-1C80BFD6CA2F}" type="slidenum">
              <a:rPr lang="en-GB" smtClean="0"/>
              <a:t>‹N°›</a:t>
            </a:fld>
            <a:endParaRPr lang="en-GB"/>
          </a:p>
        </p:txBody>
      </p:sp>
    </p:spTree>
    <p:extLst>
      <p:ext uri="{BB962C8B-B14F-4D97-AF65-F5344CB8AC3E}">
        <p14:creationId xmlns:p14="http://schemas.microsoft.com/office/powerpoint/2010/main" val="26661988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a:pPr>
                <a:defRPr/>
              </a:pPr>
              <a:t>‹N°›</a:t>
            </a:fld>
            <a:endParaRPr lang="en-US" dirty="0"/>
          </a:p>
        </p:txBody>
      </p:sp>
    </p:spTree>
    <p:extLst>
      <p:ext uri="{BB962C8B-B14F-4D97-AF65-F5344CB8AC3E}">
        <p14:creationId xmlns:p14="http://schemas.microsoft.com/office/powerpoint/2010/main" val="3133551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B534E8-6B0C-8A41-9869-A3F5CDF2CC98}" type="datetimeFigureOut">
              <a:rPr lang="en-US" smtClean="0"/>
              <a:t>9/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E041C85-46E5-8649-8CB5-559295B1D80A}" type="slidenum">
              <a:rPr lang="en-US" smtClean="0"/>
              <a:t>‹N°›</a:t>
            </a:fld>
            <a:endParaRPr lang="en-US" dirty="0"/>
          </a:p>
        </p:txBody>
      </p:sp>
    </p:spTree>
    <p:extLst>
      <p:ext uri="{BB962C8B-B14F-4D97-AF65-F5344CB8AC3E}">
        <p14:creationId xmlns:p14="http://schemas.microsoft.com/office/powerpoint/2010/main" val="19713575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US"/>
          </a:p>
        </p:txBody>
      </p:sp>
      <p:sp>
        <p:nvSpPr>
          <p:cNvPr id="3" name="Slide Number Placeholder 5"/>
          <p:cNvSpPr>
            <a:spLocks noGrp="1"/>
          </p:cNvSpPr>
          <p:nvPr>
            <p:ph type="sldNum" sz="quarter" idx="11"/>
          </p:nvPr>
        </p:nvSpPr>
        <p:spPr/>
        <p:txBody>
          <a:bodyPr/>
          <a:lstStyle>
            <a:lvl1pPr>
              <a:defRPr/>
            </a:lvl1pPr>
          </a:lstStyle>
          <a:p>
            <a:pPr>
              <a:defRPr/>
            </a:pPr>
            <a:fld id="{48191064-2E5B-41BE-9E6F-A9927B9AA32C}" type="slidenum">
              <a:rPr lang="en-US"/>
              <a:pPr>
                <a:defRPr/>
              </a:pPr>
              <a:t>‹N°›</a:t>
            </a:fld>
            <a:endParaRPr lang="en-US" dirty="0"/>
          </a:p>
        </p:txBody>
      </p:sp>
    </p:spTree>
    <p:extLst>
      <p:ext uri="{BB962C8B-B14F-4D97-AF65-F5344CB8AC3E}">
        <p14:creationId xmlns:p14="http://schemas.microsoft.com/office/powerpoint/2010/main" val="2775104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42" y="1718734"/>
            <a:ext cx="11106150" cy="4519084"/>
          </a:xfrm>
          <a:prstGeom prst="rect">
            <a:avLst/>
          </a:prstGeo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7498086" y="6527945"/>
            <a:ext cx="3860800" cy="207464"/>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N°›</a:t>
            </a:fld>
            <a:endParaRPr lang="en-US" dirty="0">
              <a:solidFill>
                <a:srgbClr val="000000"/>
              </a:solidFill>
            </a:endParaRPr>
          </a:p>
        </p:txBody>
      </p:sp>
      <p:sp>
        <p:nvSpPr>
          <p:cNvPr id="2" name="Title 1"/>
          <p:cNvSpPr>
            <a:spLocks noGrp="1"/>
          </p:cNvSpPr>
          <p:nvPr>
            <p:ph type="title" hasCustomPrompt="1"/>
          </p:nvPr>
        </p:nvSpPr>
        <p:spPr>
          <a:xfrm>
            <a:off x="486842" y="646258"/>
            <a:ext cx="11106150" cy="697577"/>
          </a:xfrm>
          <a:prstGeom prst="rect">
            <a:avLst/>
          </a:prstGeo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0313832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51671" y="482572"/>
            <a:ext cx="10623549" cy="512961"/>
          </a:xfrm>
          <a:prstGeom prst="rect">
            <a:avLst/>
          </a:prstGeo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11193961" y="6461502"/>
            <a:ext cx="588433" cy="365125"/>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smtClean="0">
                <a:solidFill>
                  <a:srgbClr val="59452A"/>
                </a:solidFill>
              </a:rPr>
              <a:pPr defTabSz="685700"/>
              <a:t>‹N°›</a:t>
            </a:fld>
            <a:endParaRPr lang="en-US" dirty="0">
              <a:solidFill>
                <a:srgbClr val="59452A"/>
              </a:solidFill>
            </a:endParaRPr>
          </a:p>
        </p:txBody>
      </p:sp>
      <p:sp>
        <p:nvSpPr>
          <p:cNvPr id="8" name="Text Placeholder 11"/>
          <p:cNvSpPr>
            <a:spLocks noGrp="1"/>
          </p:cNvSpPr>
          <p:nvPr>
            <p:ph type="body" sz="quarter" idx="13"/>
          </p:nvPr>
        </p:nvSpPr>
        <p:spPr>
          <a:xfrm>
            <a:off x="750371" y="1531737"/>
            <a:ext cx="10602382" cy="4378396"/>
          </a:xfrm>
          <a:prstGeom prst="rect">
            <a:avLst/>
          </a:prstGeo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1141077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1746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549314" y="1557346"/>
            <a:ext cx="5506247" cy="47958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236149" y="1557346"/>
            <a:ext cx="5508127" cy="4795837"/>
          </a:xfrm>
          <a:prstGeom prst="rect">
            <a:avLst/>
          </a:prstGeom>
        </p:spPr>
        <p:txBody>
          <a:bodyPr/>
          <a:lstStyle/>
          <a:p>
            <a:pPr lvl="0"/>
            <a:endParaRPr lang="en-US" noProof="0"/>
          </a:p>
        </p:txBody>
      </p:sp>
    </p:spTree>
    <p:extLst>
      <p:ext uri="{BB962C8B-B14F-4D97-AF65-F5344CB8AC3E}">
        <p14:creationId xmlns:p14="http://schemas.microsoft.com/office/powerpoint/2010/main" val="27394690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259" y="2130436"/>
            <a:ext cx="10363482"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519" y="3886200"/>
            <a:ext cx="8534965"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4571988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12188238" cy="127000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98880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562905" indent="0" algn="ctr">
              <a:buNone/>
              <a:defRPr>
                <a:solidFill>
                  <a:schemeClr val="tx1">
                    <a:tint val="75000"/>
                  </a:schemeClr>
                </a:solidFill>
              </a:defRPr>
            </a:lvl2pPr>
            <a:lvl3pPr marL="1125809" indent="0" algn="ctr">
              <a:buNone/>
              <a:defRPr>
                <a:solidFill>
                  <a:schemeClr val="tx1">
                    <a:tint val="75000"/>
                  </a:schemeClr>
                </a:solidFill>
              </a:defRPr>
            </a:lvl3pPr>
            <a:lvl4pPr marL="1688714" indent="0" algn="ctr">
              <a:buNone/>
              <a:defRPr>
                <a:solidFill>
                  <a:schemeClr val="tx1">
                    <a:tint val="75000"/>
                  </a:schemeClr>
                </a:solidFill>
              </a:defRPr>
            </a:lvl4pPr>
            <a:lvl5pPr marL="2251619" indent="0" algn="ctr">
              <a:buNone/>
              <a:defRPr>
                <a:solidFill>
                  <a:schemeClr val="tx1">
                    <a:tint val="75000"/>
                  </a:schemeClr>
                </a:solidFill>
              </a:defRPr>
            </a:lvl5pPr>
            <a:lvl6pPr marL="2814523" indent="0" algn="ctr">
              <a:buNone/>
              <a:defRPr>
                <a:solidFill>
                  <a:schemeClr val="tx1">
                    <a:tint val="75000"/>
                  </a:schemeClr>
                </a:solidFill>
              </a:defRPr>
            </a:lvl6pPr>
            <a:lvl7pPr marL="3377428" indent="0" algn="ctr">
              <a:buNone/>
              <a:defRPr>
                <a:solidFill>
                  <a:schemeClr val="tx1">
                    <a:tint val="75000"/>
                  </a:schemeClr>
                </a:solidFill>
              </a:defRPr>
            </a:lvl7pPr>
            <a:lvl8pPr marL="3940332" indent="0" algn="ctr">
              <a:buNone/>
              <a:defRPr>
                <a:solidFill>
                  <a:schemeClr val="tx1">
                    <a:tint val="75000"/>
                  </a:schemeClr>
                </a:solidFill>
              </a:defRPr>
            </a:lvl8pPr>
            <a:lvl9pPr marL="4503237"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5A9BA17A-CF33-474F-DBF1-0C73F046DF70}"/>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65B6B581-79A2-07B7-A7C0-B056A286B8D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2359D9E-E2F4-3872-C562-6B3561CF5E5E}"/>
              </a:ext>
            </a:extLst>
          </p:cNvPr>
          <p:cNvSpPr>
            <a:spLocks noGrp="1"/>
          </p:cNvSpPr>
          <p:nvPr>
            <p:ph type="sldNum" sz="quarter" idx="12"/>
          </p:nvPr>
        </p:nvSpPr>
        <p:spPr/>
        <p:txBody>
          <a:bodyPr/>
          <a:lstStyle>
            <a:lvl1pPr>
              <a:defRPr/>
            </a:lvl1pPr>
          </a:lstStyle>
          <a:p>
            <a:pPr>
              <a:defRPr/>
            </a:pPr>
            <a:fld id="{5FA30C0F-4744-4DAC-972C-4D04D0D9A623}" type="slidenum">
              <a:rPr lang="en-US" altLang="fr-FR"/>
              <a:pPr>
                <a:defRPr/>
              </a:pPr>
              <a:t>‹N°›</a:t>
            </a:fld>
            <a:endParaRPr lang="en-US" altLang="fr-FR"/>
          </a:p>
        </p:txBody>
      </p:sp>
    </p:spTree>
    <p:extLst>
      <p:ext uri="{BB962C8B-B14F-4D97-AF65-F5344CB8AC3E}">
        <p14:creationId xmlns:p14="http://schemas.microsoft.com/office/powerpoint/2010/main" val="2614170709"/>
      </p:ext>
    </p:extLst>
  </p:cSld>
  <p:clrMapOvr>
    <a:masterClrMapping/>
  </p:clrMapOvr>
  <p:transition spd="med">
    <p:cover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06A7C-B30F-F5EA-397A-00FE433BDD26}"/>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87AFFED9-5F24-FD58-5745-5EB48CD8519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57FEC8A-E15D-087B-4562-2C728B4714C3}"/>
              </a:ext>
            </a:extLst>
          </p:cNvPr>
          <p:cNvSpPr>
            <a:spLocks noGrp="1"/>
          </p:cNvSpPr>
          <p:nvPr>
            <p:ph type="sldNum" sz="quarter" idx="12"/>
          </p:nvPr>
        </p:nvSpPr>
        <p:spPr/>
        <p:txBody>
          <a:bodyPr/>
          <a:lstStyle>
            <a:lvl1pPr>
              <a:defRPr/>
            </a:lvl1pPr>
          </a:lstStyle>
          <a:p>
            <a:pPr>
              <a:defRPr/>
            </a:pPr>
            <a:fld id="{10E95E38-1671-48D9-A081-086A76E954CE}" type="slidenum">
              <a:rPr lang="en-US" altLang="fr-FR"/>
              <a:pPr>
                <a:defRPr/>
              </a:pPr>
              <a:t>‹N°›</a:t>
            </a:fld>
            <a:endParaRPr lang="en-US" altLang="fr-FR"/>
          </a:p>
        </p:txBody>
      </p:sp>
    </p:spTree>
    <p:extLst>
      <p:ext uri="{BB962C8B-B14F-4D97-AF65-F5344CB8AC3E}">
        <p14:creationId xmlns:p14="http://schemas.microsoft.com/office/powerpoint/2010/main" val="2470379751"/>
      </p:ext>
    </p:extLst>
  </p:cSld>
  <p:clrMapOvr>
    <a:masterClrMapping/>
  </p:clrMapOvr>
  <p:transition spd="med">
    <p:cover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4925"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2462">
                <a:solidFill>
                  <a:schemeClr val="tx1">
                    <a:tint val="75000"/>
                  </a:schemeClr>
                </a:solidFill>
              </a:defRPr>
            </a:lvl1pPr>
            <a:lvl2pPr marL="562905" indent="0">
              <a:buNone/>
              <a:defRPr sz="2216">
                <a:solidFill>
                  <a:schemeClr val="tx1">
                    <a:tint val="75000"/>
                  </a:schemeClr>
                </a:solidFill>
              </a:defRPr>
            </a:lvl2pPr>
            <a:lvl3pPr marL="1125809" indent="0">
              <a:buNone/>
              <a:defRPr sz="1970">
                <a:solidFill>
                  <a:schemeClr val="tx1">
                    <a:tint val="75000"/>
                  </a:schemeClr>
                </a:solidFill>
              </a:defRPr>
            </a:lvl3pPr>
            <a:lvl4pPr marL="1688714" indent="0">
              <a:buNone/>
              <a:defRPr sz="1724">
                <a:solidFill>
                  <a:schemeClr val="tx1">
                    <a:tint val="75000"/>
                  </a:schemeClr>
                </a:solidFill>
              </a:defRPr>
            </a:lvl4pPr>
            <a:lvl5pPr marL="2251619" indent="0">
              <a:buNone/>
              <a:defRPr sz="1724">
                <a:solidFill>
                  <a:schemeClr val="tx1">
                    <a:tint val="75000"/>
                  </a:schemeClr>
                </a:solidFill>
              </a:defRPr>
            </a:lvl5pPr>
            <a:lvl6pPr marL="2814523" indent="0">
              <a:buNone/>
              <a:defRPr sz="1724">
                <a:solidFill>
                  <a:schemeClr val="tx1">
                    <a:tint val="75000"/>
                  </a:schemeClr>
                </a:solidFill>
              </a:defRPr>
            </a:lvl6pPr>
            <a:lvl7pPr marL="3377428" indent="0">
              <a:buNone/>
              <a:defRPr sz="1724">
                <a:solidFill>
                  <a:schemeClr val="tx1">
                    <a:tint val="75000"/>
                  </a:schemeClr>
                </a:solidFill>
              </a:defRPr>
            </a:lvl7pPr>
            <a:lvl8pPr marL="3940332" indent="0">
              <a:buNone/>
              <a:defRPr sz="1724">
                <a:solidFill>
                  <a:schemeClr val="tx1">
                    <a:tint val="75000"/>
                  </a:schemeClr>
                </a:solidFill>
              </a:defRPr>
            </a:lvl8pPr>
            <a:lvl9pPr marL="4503237" indent="0">
              <a:buNone/>
              <a:defRPr sz="1724">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8A1A4D0-FC2F-84EC-3F72-4AF50BF983F0}"/>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F28D498E-E1DE-8733-C916-D6866B6A5C0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5BB4093-1FAE-C365-A4B0-E9D93815B804}"/>
              </a:ext>
            </a:extLst>
          </p:cNvPr>
          <p:cNvSpPr>
            <a:spLocks noGrp="1"/>
          </p:cNvSpPr>
          <p:nvPr>
            <p:ph type="sldNum" sz="quarter" idx="12"/>
          </p:nvPr>
        </p:nvSpPr>
        <p:spPr/>
        <p:txBody>
          <a:bodyPr/>
          <a:lstStyle>
            <a:lvl1pPr>
              <a:defRPr/>
            </a:lvl1pPr>
          </a:lstStyle>
          <a:p>
            <a:pPr>
              <a:defRPr/>
            </a:pPr>
            <a:fld id="{B4574E17-DED4-4380-99AE-B97CBD4AE2D0}" type="slidenum">
              <a:rPr lang="en-US" altLang="fr-FR"/>
              <a:pPr>
                <a:defRPr/>
              </a:pPr>
              <a:t>‹N°›</a:t>
            </a:fld>
            <a:endParaRPr lang="en-US" altLang="fr-FR"/>
          </a:p>
        </p:txBody>
      </p:sp>
    </p:spTree>
    <p:extLst>
      <p:ext uri="{BB962C8B-B14F-4D97-AF65-F5344CB8AC3E}">
        <p14:creationId xmlns:p14="http://schemas.microsoft.com/office/powerpoint/2010/main" val="2841264893"/>
      </p:ext>
    </p:extLst>
  </p:cSld>
  <p:clrMapOvr>
    <a:masterClrMapping/>
  </p:clrMapOvr>
  <p:transition spd="med">
    <p:cover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6B15CEA-7F4D-4111-91E1-C24BB8942014}"/>
              </a:ext>
            </a:extLst>
          </p:cNvPr>
          <p:cNvSpPr/>
          <p:nvPr userDrawn="1"/>
        </p:nvSpPr>
        <p:spPr>
          <a:xfrm flipV="1">
            <a:off x="0" y="0"/>
            <a:ext cx="12192000" cy="1540042"/>
          </a:xfrm>
          <a:prstGeom prst="rect">
            <a:avLst/>
          </a:prstGeom>
          <a:solidFill>
            <a:srgbClr val="01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DB110B65-104E-48DA-9FDA-01FF9A48E841}"/>
              </a:ext>
            </a:extLst>
          </p:cNvPr>
          <p:cNvSpPr>
            <a:spLocks noGrp="1"/>
          </p:cNvSpPr>
          <p:nvPr>
            <p:ph type="title"/>
          </p:nvPr>
        </p:nvSpPr>
        <p:spPr>
          <a:xfrm>
            <a:off x="381000" y="1"/>
            <a:ext cx="11506200" cy="1540042"/>
          </a:xfrm>
        </p:spPr>
        <p:txBody>
          <a:bodyPr tIns="0" bIns="91440" anchor="b"/>
          <a:lstStyle>
            <a:lvl1pPr>
              <a:defRPr cap="all" baseline="0">
                <a:solidFill>
                  <a:schemeClr val="bg1"/>
                </a:solidFill>
              </a:defRPr>
            </a:lvl1pPr>
          </a:lstStyle>
          <a:p>
            <a:r>
              <a:rPr lang="en-US" dirty="0"/>
              <a:t>Click to edit Master title style</a:t>
            </a:r>
          </a:p>
        </p:txBody>
      </p:sp>
      <p:sp>
        <p:nvSpPr>
          <p:cNvPr id="10" name="Content Placeholder 2">
            <a:extLst>
              <a:ext uri="{FF2B5EF4-FFF2-40B4-BE49-F238E27FC236}">
                <a16:creationId xmlns:a16="http://schemas.microsoft.com/office/drawing/2014/main" id="{9A633E9E-2A95-4274-8C9E-B12F3C8F05DB}"/>
              </a:ext>
            </a:extLst>
          </p:cNvPr>
          <p:cNvSpPr>
            <a:spLocks noGrp="1"/>
          </p:cNvSpPr>
          <p:nvPr>
            <p:ph idx="1"/>
          </p:nvPr>
        </p:nvSpPr>
        <p:spPr>
          <a:xfrm>
            <a:off x="380999" y="2436811"/>
            <a:ext cx="11506199" cy="3836989"/>
          </a:xfrm>
        </p:spPr>
        <p:txBody>
          <a:bodyPr>
            <a:normAutofit/>
          </a:bodyPr>
          <a:lstStyle>
            <a:lvl1pPr>
              <a:defRPr sz="2400">
                <a:solidFill>
                  <a:srgbClr val="333333"/>
                </a:solidFill>
              </a:defRPr>
            </a:lvl1pPr>
            <a:lvl2pPr marL="457200" indent="-228600">
              <a:defRPr sz="2000">
                <a:solidFill>
                  <a:srgbClr val="333333"/>
                </a:solidFill>
              </a:defRPr>
            </a:lvl2pPr>
            <a:lvl3pPr marL="685800" indent="-228600">
              <a:defRPr sz="1800">
                <a:solidFill>
                  <a:srgbClr val="333333"/>
                </a:solidFill>
              </a:defRPr>
            </a:lvl3pPr>
            <a:lvl4pPr marL="914400" indent="-228600">
              <a:defRPr sz="1600">
                <a:solidFill>
                  <a:srgbClr val="333333"/>
                </a:solidFill>
              </a:defRPr>
            </a:lvl4pPr>
            <a:lvl5pPr marL="1143000" indent="-228600">
              <a:defRPr sz="1600">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a:extLst>
              <a:ext uri="{FF2B5EF4-FFF2-40B4-BE49-F238E27FC236}">
                <a16:creationId xmlns:a16="http://schemas.microsoft.com/office/drawing/2014/main" id="{11B1EC5A-E690-43D2-A0E3-D50BD6A53AFE}"/>
              </a:ext>
            </a:extLst>
          </p:cNvPr>
          <p:cNvSpPr>
            <a:spLocks noGrp="1"/>
          </p:cNvSpPr>
          <p:nvPr>
            <p:ph type="subTitle" idx="13"/>
          </p:nvPr>
        </p:nvSpPr>
        <p:spPr>
          <a:xfrm>
            <a:off x="380999" y="1796132"/>
            <a:ext cx="11506199" cy="615279"/>
          </a:xfrm>
        </p:spPr>
        <p:txBody>
          <a:bodyPr>
            <a:normAutofit/>
          </a:bodyPr>
          <a:lstStyle>
            <a:lvl1pPr marL="0" indent="0" algn="l">
              <a:buNone/>
              <a:defRPr sz="2400" b="1" cap="all" baseline="0">
                <a:solidFill>
                  <a:srgbClr val="33333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hidden="1">
            <a:extLst>
              <a:ext uri="{FF2B5EF4-FFF2-40B4-BE49-F238E27FC236}">
                <a16:creationId xmlns:a16="http://schemas.microsoft.com/office/drawing/2014/main" id="{C429B5C5-40F0-413F-82DE-781C809F82A3}"/>
              </a:ext>
            </a:extLst>
          </p:cNvPr>
          <p:cNvSpPr txBox="1"/>
          <p:nvPr userDrawn="1"/>
        </p:nvSpPr>
        <p:spPr>
          <a:xfrm>
            <a:off x="0" y="6673334"/>
            <a:ext cx="91440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E7E6E6">
                    <a:lumMod val="75000"/>
                  </a:srgbClr>
                </a:solidFill>
                <a:effectLst/>
                <a:uLnTx/>
                <a:uFillTx/>
                <a:latin typeface="Arial" panose="020B0604020202020204"/>
                <a:ea typeface="+mn-ea"/>
                <a:cs typeface="+mn-cs"/>
              </a:rPr>
              <a:t>© 2019 Rotary International. Internal Use Only. Not For Distribution. Private and Confidential.</a:t>
            </a:r>
          </a:p>
        </p:txBody>
      </p:sp>
      <p:sp>
        <p:nvSpPr>
          <p:cNvPr id="9" name="Slide Number Placeholder 5">
            <a:extLst>
              <a:ext uri="{FF2B5EF4-FFF2-40B4-BE49-F238E27FC236}">
                <a16:creationId xmlns:a16="http://schemas.microsoft.com/office/drawing/2014/main" id="{FD10926E-D815-4592-97B7-8EE7A9786ACB}"/>
              </a:ext>
            </a:extLst>
          </p:cNvPr>
          <p:cNvSpPr>
            <a:spLocks noGrp="1"/>
          </p:cNvSpPr>
          <p:nvPr>
            <p:ph type="sldNum" sz="quarter" idx="12"/>
          </p:nvPr>
        </p:nvSpPr>
        <p:spPr>
          <a:xfrm>
            <a:off x="11650133" y="115570"/>
            <a:ext cx="423334" cy="365125"/>
          </a:xfrm>
        </p:spPr>
        <p:txBody>
          <a:bodyPr vert="horz" lIns="91440" tIns="45720" rIns="91440" bIns="45720" rtlCol="0" anchor="ctr"/>
          <a:lstStyle>
            <a:lvl1pPr>
              <a:defRPr lang="en-US" smtClean="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7A94E25-127B-4C48-AF96-44BA7B823777}"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103031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447"/>
            </a:lvl1pPr>
            <a:lvl2pPr>
              <a:defRPr sz="2955"/>
            </a:lvl2pPr>
            <a:lvl3pPr>
              <a:defRPr sz="2462"/>
            </a:lvl3pPr>
            <a:lvl4pPr>
              <a:defRPr sz="2216"/>
            </a:lvl4pPr>
            <a:lvl5pPr>
              <a:defRPr sz="2216"/>
            </a:lvl5pPr>
            <a:lvl6pPr>
              <a:defRPr sz="2216"/>
            </a:lvl6pPr>
            <a:lvl7pPr>
              <a:defRPr sz="2216"/>
            </a:lvl7pPr>
            <a:lvl8pPr>
              <a:defRPr sz="2216"/>
            </a:lvl8pPr>
            <a:lvl9pPr>
              <a:defRPr sz="221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447"/>
            </a:lvl1pPr>
            <a:lvl2pPr>
              <a:defRPr sz="2955"/>
            </a:lvl2pPr>
            <a:lvl3pPr>
              <a:defRPr sz="2462"/>
            </a:lvl3pPr>
            <a:lvl4pPr>
              <a:defRPr sz="2216"/>
            </a:lvl4pPr>
            <a:lvl5pPr>
              <a:defRPr sz="2216"/>
            </a:lvl5pPr>
            <a:lvl6pPr>
              <a:defRPr sz="2216"/>
            </a:lvl6pPr>
            <a:lvl7pPr>
              <a:defRPr sz="2216"/>
            </a:lvl7pPr>
            <a:lvl8pPr>
              <a:defRPr sz="2216"/>
            </a:lvl8pPr>
            <a:lvl9pPr>
              <a:defRPr sz="221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682CC57-C368-F5E5-51D8-E6121993EFF0}"/>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0B03104D-3520-90E5-F9C4-528E6E5D0E6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9704CF0-7729-65D8-D24E-CEEAC6A70FC8}"/>
              </a:ext>
            </a:extLst>
          </p:cNvPr>
          <p:cNvSpPr>
            <a:spLocks noGrp="1"/>
          </p:cNvSpPr>
          <p:nvPr>
            <p:ph type="sldNum" sz="quarter" idx="12"/>
          </p:nvPr>
        </p:nvSpPr>
        <p:spPr/>
        <p:txBody>
          <a:bodyPr/>
          <a:lstStyle>
            <a:lvl1pPr>
              <a:defRPr/>
            </a:lvl1pPr>
          </a:lstStyle>
          <a:p>
            <a:pPr>
              <a:defRPr/>
            </a:pPr>
            <a:fld id="{4BDD9881-8AEA-4CC8-96AF-982FE20152AA}" type="slidenum">
              <a:rPr lang="en-US" altLang="fr-FR"/>
              <a:pPr>
                <a:defRPr/>
              </a:pPr>
              <a:t>‹N°›</a:t>
            </a:fld>
            <a:endParaRPr lang="en-US" altLang="fr-FR"/>
          </a:p>
        </p:txBody>
      </p:sp>
    </p:spTree>
    <p:extLst>
      <p:ext uri="{BB962C8B-B14F-4D97-AF65-F5344CB8AC3E}">
        <p14:creationId xmlns:p14="http://schemas.microsoft.com/office/powerpoint/2010/main" val="556497969"/>
      </p:ext>
    </p:extLst>
  </p:cSld>
  <p:clrMapOvr>
    <a:masterClrMapping/>
  </p:clrMapOvr>
  <p:transition spd="med">
    <p:cover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955" b="1"/>
            </a:lvl1pPr>
            <a:lvl2pPr marL="562905" indent="0">
              <a:buNone/>
              <a:defRPr sz="2462" b="1"/>
            </a:lvl2pPr>
            <a:lvl3pPr marL="1125809" indent="0">
              <a:buNone/>
              <a:defRPr sz="2216" b="1"/>
            </a:lvl3pPr>
            <a:lvl4pPr marL="1688714" indent="0">
              <a:buNone/>
              <a:defRPr sz="1970" b="1"/>
            </a:lvl4pPr>
            <a:lvl5pPr marL="2251619" indent="0">
              <a:buNone/>
              <a:defRPr sz="1970" b="1"/>
            </a:lvl5pPr>
            <a:lvl6pPr marL="2814523" indent="0">
              <a:buNone/>
              <a:defRPr sz="1970" b="1"/>
            </a:lvl6pPr>
            <a:lvl7pPr marL="3377428" indent="0">
              <a:buNone/>
              <a:defRPr sz="1970" b="1"/>
            </a:lvl7pPr>
            <a:lvl8pPr marL="3940332" indent="0">
              <a:buNone/>
              <a:defRPr sz="1970" b="1"/>
            </a:lvl8pPr>
            <a:lvl9pPr marL="4503237" indent="0">
              <a:buNone/>
              <a:defRPr sz="197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955"/>
            </a:lvl1pPr>
            <a:lvl2pPr>
              <a:defRPr sz="2462"/>
            </a:lvl2pPr>
            <a:lvl3pPr>
              <a:defRPr sz="2216"/>
            </a:lvl3pPr>
            <a:lvl4pPr>
              <a:defRPr sz="1970"/>
            </a:lvl4pPr>
            <a:lvl5pPr>
              <a:defRPr sz="1970"/>
            </a:lvl5pPr>
            <a:lvl6pPr>
              <a:defRPr sz="1970"/>
            </a:lvl6pPr>
            <a:lvl7pPr>
              <a:defRPr sz="1970"/>
            </a:lvl7pPr>
            <a:lvl8pPr>
              <a:defRPr sz="1970"/>
            </a:lvl8pPr>
            <a:lvl9pPr>
              <a:defRPr sz="19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955" b="1"/>
            </a:lvl1pPr>
            <a:lvl2pPr marL="562905" indent="0">
              <a:buNone/>
              <a:defRPr sz="2462" b="1"/>
            </a:lvl2pPr>
            <a:lvl3pPr marL="1125809" indent="0">
              <a:buNone/>
              <a:defRPr sz="2216" b="1"/>
            </a:lvl3pPr>
            <a:lvl4pPr marL="1688714" indent="0">
              <a:buNone/>
              <a:defRPr sz="1970" b="1"/>
            </a:lvl4pPr>
            <a:lvl5pPr marL="2251619" indent="0">
              <a:buNone/>
              <a:defRPr sz="1970" b="1"/>
            </a:lvl5pPr>
            <a:lvl6pPr marL="2814523" indent="0">
              <a:buNone/>
              <a:defRPr sz="1970" b="1"/>
            </a:lvl6pPr>
            <a:lvl7pPr marL="3377428" indent="0">
              <a:buNone/>
              <a:defRPr sz="1970" b="1"/>
            </a:lvl7pPr>
            <a:lvl8pPr marL="3940332" indent="0">
              <a:buNone/>
              <a:defRPr sz="1970" b="1"/>
            </a:lvl8pPr>
            <a:lvl9pPr marL="4503237" indent="0">
              <a:buNone/>
              <a:defRPr sz="197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955"/>
            </a:lvl1pPr>
            <a:lvl2pPr>
              <a:defRPr sz="2462"/>
            </a:lvl2pPr>
            <a:lvl3pPr>
              <a:defRPr sz="2216"/>
            </a:lvl3pPr>
            <a:lvl4pPr>
              <a:defRPr sz="1970"/>
            </a:lvl4pPr>
            <a:lvl5pPr>
              <a:defRPr sz="1970"/>
            </a:lvl5pPr>
            <a:lvl6pPr>
              <a:defRPr sz="1970"/>
            </a:lvl6pPr>
            <a:lvl7pPr>
              <a:defRPr sz="1970"/>
            </a:lvl7pPr>
            <a:lvl8pPr>
              <a:defRPr sz="1970"/>
            </a:lvl8pPr>
            <a:lvl9pPr>
              <a:defRPr sz="19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C617AF85-DE89-FE99-8E52-B357CCC0C04B}"/>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2C8290B6-0F2C-93D3-81E2-B0602006564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BCD9E19-C31C-6E57-A468-EC626972B204}"/>
              </a:ext>
            </a:extLst>
          </p:cNvPr>
          <p:cNvSpPr>
            <a:spLocks noGrp="1"/>
          </p:cNvSpPr>
          <p:nvPr>
            <p:ph type="sldNum" sz="quarter" idx="12"/>
          </p:nvPr>
        </p:nvSpPr>
        <p:spPr/>
        <p:txBody>
          <a:bodyPr/>
          <a:lstStyle>
            <a:lvl1pPr>
              <a:defRPr/>
            </a:lvl1pPr>
          </a:lstStyle>
          <a:p>
            <a:pPr>
              <a:defRPr/>
            </a:pPr>
            <a:fld id="{352E254F-6CC2-4B0E-995C-CAAD457F1C53}" type="slidenum">
              <a:rPr lang="en-US" altLang="fr-FR"/>
              <a:pPr>
                <a:defRPr/>
              </a:pPr>
              <a:t>‹N°›</a:t>
            </a:fld>
            <a:endParaRPr lang="en-US" altLang="fr-FR"/>
          </a:p>
        </p:txBody>
      </p:sp>
    </p:spTree>
    <p:extLst>
      <p:ext uri="{BB962C8B-B14F-4D97-AF65-F5344CB8AC3E}">
        <p14:creationId xmlns:p14="http://schemas.microsoft.com/office/powerpoint/2010/main" val="3892152631"/>
      </p:ext>
    </p:extLst>
  </p:cSld>
  <p:clrMapOvr>
    <a:masterClrMapping/>
  </p:clrMapOvr>
  <p:transition spd="med">
    <p:cover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B0A74E5-03EB-F82B-CB43-E9E4C89425B3}"/>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BD3D9A79-2A8E-F333-7FBF-C378D544B0DD}"/>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29E006DD-1A53-242B-2A69-7AEC01B265A3}"/>
              </a:ext>
            </a:extLst>
          </p:cNvPr>
          <p:cNvSpPr>
            <a:spLocks noGrp="1"/>
          </p:cNvSpPr>
          <p:nvPr>
            <p:ph type="sldNum" sz="quarter" idx="12"/>
          </p:nvPr>
        </p:nvSpPr>
        <p:spPr/>
        <p:txBody>
          <a:bodyPr/>
          <a:lstStyle>
            <a:lvl1pPr>
              <a:defRPr/>
            </a:lvl1pPr>
          </a:lstStyle>
          <a:p>
            <a:pPr>
              <a:defRPr/>
            </a:pPr>
            <a:fld id="{F095E4DC-D194-4EAA-ADA5-EE5D5B954EE6}" type="slidenum">
              <a:rPr lang="en-US" altLang="fr-FR"/>
              <a:pPr>
                <a:defRPr/>
              </a:pPr>
              <a:t>‹N°›</a:t>
            </a:fld>
            <a:endParaRPr lang="en-US" altLang="fr-FR"/>
          </a:p>
        </p:txBody>
      </p:sp>
    </p:spTree>
    <p:extLst>
      <p:ext uri="{BB962C8B-B14F-4D97-AF65-F5344CB8AC3E}">
        <p14:creationId xmlns:p14="http://schemas.microsoft.com/office/powerpoint/2010/main" val="1764431148"/>
      </p:ext>
    </p:extLst>
  </p:cSld>
  <p:clrMapOvr>
    <a:masterClrMapping/>
  </p:clrMapOvr>
  <p:transition spd="med">
    <p:cover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BC5265E-FF07-F002-C3E3-F14DE0EDA9AD}"/>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D264AEB3-E5CE-03D7-4239-C9E6C5B57E1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344DB9DA-BA51-3EB6-F689-DE295D864535}"/>
              </a:ext>
            </a:extLst>
          </p:cNvPr>
          <p:cNvSpPr>
            <a:spLocks noGrp="1"/>
          </p:cNvSpPr>
          <p:nvPr>
            <p:ph type="sldNum" sz="quarter" idx="12"/>
          </p:nvPr>
        </p:nvSpPr>
        <p:spPr/>
        <p:txBody>
          <a:bodyPr/>
          <a:lstStyle>
            <a:lvl1pPr>
              <a:defRPr/>
            </a:lvl1pPr>
          </a:lstStyle>
          <a:p>
            <a:pPr>
              <a:defRPr/>
            </a:pPr>
            <a:fld id="{D34258C3-BAED-466A-8DA4-F71E07763D27}" type="slidenum">
              <a:rPr lang="en-US" altLang="fr-FR"/>
              <a:pPr>
                <a:defRPr/>
              </a:pPr>
              <a:t>‹N°›</a:t>
            </a:fld>
            <a:endParaRPr lang="en-US" altLang="fr-FR"/>
          </a:p>
        </p:txBody>
      </p:sp>
    </p:spTree>
    <p:extLst>
      <p:ext uri="{BB962C8B-B14F-4D97-AF65-F5344CB8AC3E}">
        <p14:creationId xmlns:p14="http://schemas.microsoft.com/office/powerpoint/2010/main" val="2511353209"/>
      </p:ext>
    </p:extLst>
  </p:cSld>
  <p:clrMapOvr>
    <a:masterClrMapping/>
  </p:clrMapOvr>
  <p:transition spd="med">
    <p:cover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462" b="1"/>
            </a:lvl1pPr>
          </a:lstStyle>
          <a:p>
            <a:r>
              <a:rPr lang="en-US"/>
              <a:t>Click to edit Master title style</a:t>
            </a:r>
          </a:p>
        </p:txBody>
      </p:sp>
      <p:sp>
        <p:nvSpPr>
          <p:cNvPr id="3" name="Content Placeholder 2"/>
          <p:cNvSpPr>
            <a:spLocks noGrp="1"/>
          </p:cNvSpPr>
          <p:nvPr>
            <p:ph idx="1"/>
          </p:nvPr>
        </p:nvSpPr>
        <p:spPr>
          <a:xfrm>
            <a:off x="4766734" y="273052"/>
            <a:ext cx="6815666" cy="5853113"/>
          </a:xfrm>
        </p:spPr>
        <p:txBody>
          <a:bodyPr/>
          <a:lstStyle>
            <a:lvl1pPr>
              <a:defRPr sz="3940"/>
            </a:lvl1pPr>
            <a:lvl2pPr>
              <a:defRPr sz="3447"/>
            </a:lvl2pPr>
            <a:lvl3pPr>
              <a:defRPr sz="2955"/>
            </a:lvl3pPr>
            <a:lvl4pPr>
              <a:defRPr sz="2462"/>
            </a:lvl4pPr>
            <a:lvl5pPr>
              <a:defRPr sz="2462"/>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724"/>
            </a:lvl1pPr>
            <a:lvl2pPr marL="562905" indent="0">
              <a:buNone/>
              <a:defRPr sz="1477"/>
            </a:lvl2pPr>
            <a:lvl3pPr marL="1125809" indent="0">
              <a:buNone/>
              <a:defRPr sz="1231"/>
            </a:lvl3pPr>
            <a:lvl4pPr marL="1688714" indent="0">
              <a:buNone/>
              <a:defRPr sz="1108"/>
            </a:lvl4pPr>
            <a:lvl5pPr marL="2251619" indent="0">
              <a:buNone/>
              <a:defRPr sz="1108"/>
            </a:lvl5pPr>
            <a:lvl6pPr marL="2814523" indent="0">
              <a:buNone/>
              <a:defRPr sz="1108"/>
            </a:lvl6pPr>
            <a:lvl7pPr marL="3377428" indent="0">
              <a:buNone/>
              <a:defRPr sz="1108"/>
            </a:lvl7pPr>
            <a:lvl8pPr marL="3940332" indent="0">
              <a:buNone/>
              <a:defRPr sz="1108"/>
            </a:lvl8pPr>
            <a:lvl9pPr marL="4503237" indent="0">
              <a:buNone/>
              <a:defRPr sz="1108"/>
            </a:lvl9pPr>
          </a:lstStyle>
          <a:p>
            <a:pPr lvl="0"/>
            <a:r>
              <a:rPr lang="en-US"/>
              <a:t>Click to edit Master text styles</a:t>
            </a:r>
          </a:p>
        </p:txBody>
      </p:sp>
      <p:sp>
        <p:nvSpPr>
          <p:cNvPr id="5" name="Date Placeholder 3">
            <a:extLst>
              <a:ext uri="{FF2B5EF4-FFF2-40B4-BE49-F238E27FC236}">
                <a16:creationId xmlns:a16="http://schemas.microsoft.com/office/drawing/2014/main" id="{4611E64C-D7AA-E967-C0CC-198D9A5F62F2}"/>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0B55C107-C3BB-FAC5-01CA-DA353E6C0CD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82EF31C-3917-AF5B-D709-B43B11C8DA6C}"/>
              </a:ext>
            </a:extLst>
          </p:cNvPr>
          <p:cNvSpPr>
            <a:spLocks noGrp="1"/>
          </p:cNvSpPr>
          <p:nvPr>
            <p:ph type="sldNum" sz="quarter" idx="12"/>
          </p:nvPr>
        </p:nvSpPr>
        <p:spPr/>
        <p:txBody>
          <a:bodyPr/>
          <a:lstStyle>
            <a:lvl1pPr>
              <a:defRPr/>
            </a:lvl1pPr>
          </a:lstStyle>
          <a:p>
            <a:pPr>
              <a:defRPr/>
            </a:pPr>
            <a:fld id="{46A236C9-CFDC-454D-A696-DCC393A1696D}" type="slidenum">
              <a:rPr lang="en-US" altLang="fr-FR"/>
              <a:pPr>
                <a:defRPr/>
              </a:pPr>
              <a:t>‹N°›</a:t>
            </a:fld>
            <a:endParaRPr lang="en-US" altLang="fr-FR"/>
          </a:p>
        </p:txBody>
      </p:sp>
    </p:spTree>
    <p:extLst>
      <p:ext uri="{BB962C8B-B14F-4D97-AF65-F5344CB8AC3E}">
        <p14:creationId xmlns:p14="http://schemas.microsoft.com/office/powerpoint/2010/main" val="761841019"/>
      </p:ext>
    </p:extLst>
  </p:cSld>
  <p:clrMapOvr>
    <a:masterClrMapping/>
  </p:clrMapOvr>
  <p:transition spd="med">
    <p:cover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462"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rtlCol="0">
            <a:normAutofit/>
          </a:bodyPr>
          <a:lstStyle>
            <a:lvl1pPr marL="0" indent="0">
              <a:buNone/>
              <a:defRPr sz="3940"/>
            </a:lvl1pPr>
            <a:lvl2pPr marL="562905" indent="0">
              <a:buNone/>
              <a:defRPr sz="3447"/>
            </a:lvl2pPr>
            <a:lvl3pPr marL="1125809" indent="0">
              <a:buNone/>
              <a:defRPr sz="2955"/>
            </a:lvl3pPr>
            <a:lvl4pPr marL="1688714" indent="0">
              <a:buNone/>
              <a:defRPr sz="2462"/>
            </a:lvl4pPr>
            <a:lvl5pPr marL="2251619" indent="0">
              <a:buNone/>
              <a:defRPr sz="2462"/>
            </a:lvl5pPr>
            <a:lvl6pPr marL="2814523" indent="0">
              <a:buNone/>
              <a:defRPr sz="2462"/>
            </a:lvl6pPr>
            <a:lvl7pPr marL="3377428" indent="0">
              <a:buNone/>
              <a:defRPr sz="2462"/>
            </a:lvl7pPr>
            <a:lvl8pPr marL="3940332" indent="0">
              <a:buNone/>
              <a:defRPr sz="2462"/>
            </a:lvl8pPr>
            <a:lvl9pPr marL="4503237" indent="0">
              <a:buNone/>
              <a:defRPr sz="2462"/>
            </a:lvl9pPr>
          </a:lstStyle>
          <a:p>
            <a:pPr lvl="0"/>
            <a:endParaRPr lang="en-US" noProof="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724"/>
            </a:lvl1pPr>
            <a:lvl2pPr marL="562905" indent="0">
              <a:buNone/>
              <a:defRPr sz="1477"/>
            </a:lvl2pPr>
            <a:lvl3pPr marL="1125809" indent="0">
              <a:buNone/>
              <a:defRPr sz="1231"/>
            </a:lvl3pPr>
            <a:lvl4pPr marL="1688714" indent="0">
              <a:buNone/>
              <a:defRPr sz="1108"/>
            </a:lvl4pPr>
            <a:lvl5pPr marL="2251619" indent="0">
              <a:buNone/>
              <a:defRPr sz="1108"/>
            </a:lvl5pPr>
            <a:lvl6pPr marL="2814523" indent="0">
              <a:buNone/>
              <a:defRPr sz="1108"/>
            </a:lvl6pPr>
            <a:lvl7pPr marL="3377428" indent="0">
              <a:buNone/>
              <a:defRPr sz="1108"/>
            </a:lvl7pPr>
            <a:lvl8pPr marL="3940332" indent="0">
              <a:buNone/>
              <a:defRPr sz="1108"/>
            </a:lvl8pPr>
            <a:lvl9pPr marL="4503237" indent="0">
              <a:buNone/>
              <a:defRPr sz="1108"/>
            </a:lvl9pPr>
          </a:lstStyle>
          <a:p>
            <a:pPr lvl="0"/>
            <a:r>
              <a:rPr lang="en-US"/>
              <a:t>Click to edit Master text styles</a:t>
            </a:r>
          </a:p>
        </p:txBody>
      </p:sp>
      <p:sp>
        <p:nvSpPr>
          <p:cNvPr id="5" name="Date Placeholder 3">
            <a:extLst>
              <a:ext uri="{FF2B5EF4-FFF2-40B4-BE49-F238E27FC236}">
                <a16:creationId xmlns:a16="http://schemas.microsoft.com/office/drawing/2014/main" id="{03011057-F55B-2726-5A04-B8F9BE33DA9F}"/>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4D34E441-B30D-F244-68CB-6906BD6E58E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678B33C-C6C3-0209-E356-A474F7E32AC0}"/>
              </a:ext>
            </a:extLst>
          </p:cNvPr>
          <p:cNvSpPr>
            <a:spLocks noGrp="1"/>
          </p:cNvSpPr>
          <p:nvPr>
            <p:ph type="sldNum" sz="quarter" idx="12"/>
          </p:nvPr>
        </p:nvSpPr>
        <p:spPr/>
        <p:txBody>
          <a:bodyPr/>
          <a:lstStyle>
            <a:lvl1pPr>
              <a:defRPr/>
            </a:lvl1pPr>
          </a:lstStyle>
          <a:p>
            <a:pPr>
              <a:defRPr/>
            </a:pPr>
            <a:fld id="{8F97C2D8-684D-47AB-BBFD-2E5F36DBB6CC}" type="slidenum">
              <a:rPr lang="en-US" altLang="fr-FR"/>
              <a:pPr>
                <a:defRPr/>
              </a:pPr>
              <a:t>‹N°›</a:t>
            </a:fld>
            <a:endParaRPr lang="en-US" altLang="fr-FR"/>
          </a:p>
        </p:txBody>
      </p:sp>
    </p:spTree>
    <p:extLst>
      <p:ext uri="{BB962C8B-B14F-4D97-AF65-F5344CB8AC3E}">
        <p14:creationId xmlns:p14="http://schemas.microsoft.com/office/powerpoint/2010/main" val="82877920"/>
      </p:ext>
    </p:extLst>
  </p:cSld>
  <p:clrMapOvr>
    <a:masterClrMapping/>
  </p:clrMapOvr>
  <p:transition spd="med">
    <p:cover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3E9E74-FED0-92A5-27EB-2CAFBD0F53E8}"/>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8E9B6EA7-3A5C-97F3-1EA2-864CB9E7979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3A3B3E2-C7E1-13CB-9C77-5BF776CBA1C3}"/>
              </a:ext>
            </a:extLst>
          </p:cNvPr>
          <p:cNvSpPr>
            <a:spLocks noGrp="1"/>
          </p:cNvSpPr>
          <p:nvPr>
            <p:ph type="sldNum" sz="quarter" idx="12"/>
          </p:nvPr>
        </p:nvSpPr>
        <p:spPr/>
        <p:txBody>
          <a:bodyPr/>
          <a:lstStyle>
            <a:lvl1pPr>
              <a:defRPr/>
            </a:lvl1pPr>
          </a:lstStyle>
          <a:p>
            <a:pPr>
              <a:defRPr/>
            </a:pPr>
            <a:fld id="{E328D068-6A59-41A3-A3CC-D920762B250E}" type="slidenum">
              <a:rPr lang="en-US" altLang="fr-FR"/>
              <a:pPr>
                <a:defRPr/>
              </a:pPr>
              <a:t>‹N°›</a:t>
            </a:fld>
            <a:endParaRPr lang="en-US" altLang="fr-FR"/>
          </a:p>
        </p:txBody>
      </p:sp>
    </p:spTree>
    <p:extLst>
      <p:ext uri="{BB962C8B-B14F-4D97-AF65-F5344CB8AC3E}">
        <p14:creationId xmlns:p14="http://schemas.microsoft.com/office/powerpoint/2010/main" val="481493960"/>
      </p:ext>
    </p:extLst>
  </p:cSld>
  <p:clrMapOvr>
    <a:masterClrMapping/>
  </p:clrMapOvr>
  <p:transition spd="med">
    <p:cover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91AC40-4BB0-FC21-BCC0-4A3F3EFD5AC7}"/>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FF6672A0-719B-DB1A-F126-CE762C46865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629D4ED-C1C2-7403-287B-F5599A177662}"/>
              </a:ext>
            </a:extLst>
          </p:cNvPr>
          <p:cNvSpPr>
            <a:spLocks noGrp="1"/>
          </p:cNvSpPr>
          <p:nvPr>
            <p:ph type="sldNum" sz="quarter" idx="12"/>
          </p:nvPr>
        </p:nvSpPr>
        <p:spPr/>
        <p:txBody>
          <a:bodyPr/>
          <a:lstStyle>
            <a:lvl1pPr>
              <a:defRPr/>
            </a:lvl1pPr>
          </a:lstStyle>
          <a:p>
            <a:pPr>
              <a:defRPr/>
            </a:pPr>
            <a:fld id="{AA223403-D9BD-467E-8312-208344337DC4}" type="slidenum">
              <a:rPr lang="en-US" altLang="fr-FR"/>
              <a:pPr>
                <a:defRPr/>
              </a:pPr>
              <a:t>‹N°›</a:t>
            </a:fld>
            <a:endParaRPr lang="en-US" altLang="fr-FR"/>
          </a:p>
        </p:txBody>
      </p:sp>
    </p:spTree>
    <p:extLst>
      <p:ext uri="{BB962C8B-B14F-4D97-AF65-F5344CB8AC3E}">
        <p14:creationId xmlns:p14="http://schemas.microsoft.com/office/powerpoint/2010/main" val="2619874335"/>
      </p:ext>
    </p:extLst>
  </p:cSld>
  <p:clrMapOvr>
    <a:masterClrMapping/>
  </p:clrMapOvr>
  <p:transition spd="med">
    <p:cover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pPr>
              <a:defRPr/>
            </a:pPr>
            <a:fld id="{9D80A85F-EE2E-4277-B276-33FB34979C62}" type="slidenum">
              <a:rPr lang="en-US" smtClean="0"/>
              <a:pPr>
                <a:defRPr/>
              </a:pPr>
              <a:t>‹N°›</a:t>
            </a:fld>
            <a:endParaRPr lang="en-US" dirty="0"/>
          </a:p>
        </p:txBody>
      </p:sp>
    </p:spTree>
    <p:extLst>
      <p:ext uri="{BB962C8B-B14F-4D97-AF65-F5344CB8AC3E}">
        <p14:creationId xmlns:p14="http://schemas.microsoft.com/office/powerpoint/2010/main" val="2450940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4" y="274638"/>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09604" y="1600206"/>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03D5B703-056F-479E-8893-F9987D298CDC}" type="slidenum">
              <a:rPr lang="en-GB" smtClean="0"/>
              <a:pPr/>
              <a:t>‹N°›</a:t>
            </a:fld>
            <a:endParaRPr lang="en-GB"/>
          </a:p>
        </p:txBody>
      </p:sp>
    </p:spTree>
    <p:extLst>
      <p:ext uri="{BB962C8B-B14F-4D97-AF65-F5344CB8AC3E}">
        <p14:creationId xmlns:p14="http://schemas.microsoft.com/office/powerpoint/2010/main" val="975769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1315" b="1"/>
            </a:lvl1pPr>
          </a:lstStyle>
          <a:p>
            <a:r>
              <a:rPr lang="en-US"/>
              <a:t>Click to edit Master title style</a:t>
            </a:r>
          </a:p>
        </p:txBody>
      </p:sp>
      <p:sp>
        <p:nvSpPr>
          <p:cNvPr id="3" name="Content Placeholder 2"/>
          <p:cNvSpPr>
            <a:spLocks noGrp="1"/>
          </p:cNvSpPr>
          <p:nvPr>
            <p:ph idx="1"/>
          </p:nvPr>
        </p:nvSpPr>
        <p:spPr>
          <a:xfrm>
            <a:off x="4766734" y="273052"/>
            <a:ext cx="6815668" cy="5853113"/>
          </a:xfrm>
        </p:spPr>
        <p:txBody>
          <a:bodyPr/>
          <a:lstStyle>
            <a:lvl1pPr>
              <a:defRPr sz="2077"/>
            </a:lvl1pPr>
            <a:lvl2pPr>
              <a:defRPr sz="1800"/>
            </a:lvl2pPr>
            <a:lvl3pPr>
              <a:defRPr sz="1592"/>
            </a:lvl3pPr>
            <a:lvl4pPr>
              <a:defRPr sz="1315"/>
            </a:lvl4pPr>
            <a:lvl5pPr>
              <a:defRPr sz="1315"/>
            </a:lvl5pPr>
            <a:lvl6pPr>
              <a:defRPr sz="1315"/>
            </a:lvl6pPr>
            <a:lvl7pPr>
              <a:defRPr sz="1315"/>
            </a:lvl7pPr>
            <a:lvl8pPr>
              <a:defRPr sz="1315"/>
            </a:lvl8pPr>
            <a:lvl9pPr>
              <a:defRPr sz="131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900"/>
            </a:lvl1pPr>
            <a:lvl2pPr marL="297560" indent="0">
              <a:buNone/>
              <a:defRPr sz="762"/>
            </a:lvl2pPr>
            <a:lvl3pPr marL="595120" indent="0">
              <a:buNone/>
              <a:defRPr sz="623"/>
            </a:lvl3pPr>
            <a:lvl4pPr marL="892680" indent="0">
              <a:buNone/>
              <a:defRPr sz="554"/>
            </a:lvl4pPr>
            <a:lvl5pPr marL="1190240" indent="0">
              <a:buNone/>
              <a:defRPr sz="554"/>
            </a:lvl5pPr>
            <a:lvl6pPr marL="1487800" indent="0">
              <a:buNone/>
              <a:defRPr sz="554"/>
            </a:lvl6pPr>
            <a:lvl7pPr marL="1785360" indent="0">
              <a:buNone/>
              <a:defRPr sz="554"/>
            </a:lvl7pPr>
            <a:lvl8pPr marL="2082920" indent="0">
              <a:buNone/>
              <a:defRPr sz="554"/>
            </a:lvl8pPr>
            <a:lvl9pPr marL="2380480" indent="0">
              <a:buNone/>
              <a:defRPr sz="554"/>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fr-FR" altLang="fr-FR"/>
              <a:t>www.endpolionow.org</a:t>
            </a:r>
            <a:endParaRPr lang="en-US" altLang="fr-FR"/>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7C81EA25-604C-4134-9E61-AE4F2AE2864F}" type="slidenum">
              <a:rPr lang="en-US" altLang="fr-FR"/>
              <a:pPr>
                <a:defRPr/>
              </a:pPr>
              <a:t>‹N°›</a:t>
            </a:fld>
            <a:endParaRPr lang="en-US" altLang="fr-FR">
              <a:solidFill>
                <a:srgbClr val="88A44D"/>
              </a:solidFill>
            </a:endParaRPr>
          </a:p>
        </p:txBody>
      </p:sp>
    </p:spTree>
    <p:extLst>
      <p:ext uri="{BB962C8B-B14F-4D97-AF65-F5344CB8AC3E}">
        <p14:creationId xmlns:p14="http://schemas.microsoft.com/office/powerpoint/2010/main" val="2627333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1800"/>
            </a:lvl1pPr>
            <a:lvl2pPr>
              <a:defRPr sz="1592"/>
            </a:lvl2pPr>
            <a:lvl3pPr>
              <a:defRPr sz="1315"/>
            </a:lvl3pPr>
            <a:lvl4pPr>
              <a:defRPr sz="1177"/>
            </a:lvl4pPr>
            <a:lvl5pPr>
              <a:defRPr sz="1177"/>
            </a:lvl5pPr>
            <a:lvl6pPr>
              <a:defRPr sz="1177"/>
            </a:lvl6pPr>
            <a:lvl7pPr>
              <a:defRPr sz="1177"/>
            </a:lvl7pPr>
            <a:lvl8pPr>
              <a:defRPr sz="1177"/>
            </a:lvl8pPr>
            <a:lvl9pPr>
              <a:defRPr sz="11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1800"/>
            </a:lvl1pPr>
            <a:lvl2pPr>
              <a:defRPr sz="1592"/>
            </a:lvl2pPr>
            <a:lvl3pPr>
              <a:defRPr sz="1315"/>
            </a:lvl3pPr>
            <a:lvl4pPr>
              <a:defRPr sz="1177"/>
            </a:lvl4pPr>
            <a:lvl5pPr>
              <a:defRPr sz="1177"/>
            </a:lvl5pPr>
            <a:lvl6pPr>
              <a:defRPr sz="1177"/>
            </a:lvl6pPr>
            <a:lvl7pPr>
              <a:defRPr sz="1177"/>
            </a:lvl7pPr>
            <a:lvl8pPr>
              <a:defRPr sz="1177"/>
            </a:lvl8pPr>
            <a:lvl9pPr>
              <a:defRPr sz="11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r>
              <a:rPr lang="fr-FR" altLang="fr-FR"/>
              <a:t>www.endpolionow.org</a:t>
            </a:r>
            <a:endParaRPr lang="en-US" altLang="fr-FR"/>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0B3D944-FFDA-433A-927A-A487DEB3319C}" type="slidenum">
              <a:rPr lang="en-US" altLang="fr-FR"/>
              <a:pPr>
                <a:defRPr/>
              </a:pPr>
              <a:t>‹N°›</a:t>
            </a:fld>
            <a:endParaRPr lang="en-US" altLang="fr-FR"/>
          </a:p>
        </p:txBody>
      </p:sp>
    </p:spTree>
    <p:extLst>
      <p:ext uri="{BB962C8B-B14F-4D97-AF65-F5344CB8AC3E}">
        <p14:creationId xmlns:p14="http://schemas.microsoft.com/office/powerpoint/2010/main" val="9826523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3.jpeg"/><Relationship Id="rId4" Type="http://schemas.openxmlformats.org/officeDocument/2006/relationships/slideLayout" Target="../slideLayouts/slideLayout1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jpe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3.jpeg"/><Relationship Id="rId4" Type="http://schemas.openxmlformats.org/officeDocument/2006/relationships/slideLayout" Target="../slideLayouts/slideLayout4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6" descr="GPEI inside pages.jpg"/>
          <p:cNvPicPr>
            <a:picLocks noChangeAspect="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0" y="6604000"/>
            <a:ext cx="2370016" cy="254000"/>
          </a:xfrm>
          <a:prstGeom prst="rect">
            <a:avLst/>
          </a:prstGeom>
        </p:spPr>
        <p:txBody>
          <a:bodyPr vert="horz" lIns="91440" tIns="45720" rIns="91440" bIns="45720" rtlCol="0" anchor="ctr"/>
          <a:lstStyle>
            <a:lvl1pPr algn="r" defTabSz="457200" fontAlgn="auto">
              <a:spcBef>
                <a:spcPts val="0"/>
              </a:spcBef>
              <a:spcAft>
                <a:spcPts val="0"/>
              </a:spcAft>
              <a:defRPr sz="1200">
                <a:solidFill>
                  <a:prstClr val="white"/>
                </a:solidFill>
                <a:latin typeface="+mn-lt"/>
                <a:cs typeface="+mn-cs"/>
              </a:defRPr>
            </a:lvl1pPr>
          </a:lstStyle>
          <a:p>
            <a:pPr eaLnBrk="1" hangingPunct="1">
              <a:defRPr/>
            </a:pPr>
            <a:fld id="{9E64F902-AC44-4D3A-950E-4CCB65B6F726}" type="slidenum">
              <a:rPr lang="en-US">
                <a:ea typeface="+mn-ea"/>
              </a:rPr>
              <a:pPr eaLnBrk="1" hangingPunct="1">
                <a:defRPr/>
              </a:pPr>
              <a:t>‹N°›</a:t>
            </a:fld>
            <a:endParaRPr lang="en-US" dirty="0">
              <a:ea typeface="+mn-ea"/>
            </a:endParaRPr>
          </a:p>
        </p:txBody>
      </p:sp>
    </p:spTree>
    <p:extLst>
      <p:ext uri="{BB962C8B-B14F-4D97-AF65-F5344CB8AC3E}">
        <p14:creationId xmlns:p14="http://schemas.microsoft.com/office/powerpoint/2010/main" val="13486043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716" r:id="rId4"/>
    <p:sldLayoutId id="2147483718" r:id="rId5"/>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3"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smtClean="0"/>
              <a:pPr>
                <a:defRPr/>
              </a:pPr>
              <a:t>‹N°›</a:t>
            </a:fld>
            <a:endParaRPr lang="en-US" dirty="0"/>
          </a:p>
        </p:txBody>
      </p:sp>
    </p:spTree>
    <p:extLst>
      <p:ext uri="{BB962C8B-B14F-4D97-AF65-F5344CB8AC3E}">
        <p14:creationId xmlns:p14="http://schemas.microsoft.com/office/powerpoint/2010/main" val="392614479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749" r:id="rId3"/>
    <p:sldLayoutId id="2147483750" r:id="rId4"/>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5" name="Footer Placeholder 4"/>
          <p:cNvSpPr>
            <a:spLocks noGrp="1"/>
          </p:cNvSpPr>
          <p:nvPr>
            <p:ph type="ftr" sz="quarter" idx="3"/>
          </p:nvPr>
        </p:nvSpPr>
        <p:spPr>
          <a:xfrm>
            <a:off x="2429937" y="6604000"/>
            <a:ext cx="9084733" cy="254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bg1"/>
                </a:solidFill>
                <a:latin typeface="Calibri" pitchFamily="34" charset="0"/>
              </a:defRPr>
            </a:lvl1pPr>
          </a:lstStyle>
          <a:p>
            <a:pPr>
              <a:defRPr/>
            </a:pPr>
            <a:endParaRPr lang="en-US"/>
          </a:p>
        </p:txBody>
      </p:sp>
      <p:sp>
        <p:nvSpPr>
          <p:cNvPr id="6" name="Slide Number Placeholder 5"/>
          <p:cNvSpPr>
            <a:spLocks noGrp="1"/>
          </p:cNvSpPr>
          <p:nvPr>
            <p:ph type="sldNum" sz="quarter" idx="4"/>
          </p:nvPr>
        </p:nvSpPr>
        <p:spPr>
          <a:xfrm>
            <a:off x="2"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a:pPr>
                <a:defRPr/>
              </a:pPr>
              <a:t>‹N°›</a:t>
            </a:fld>
            <a:endParaRPr lang="en-US" dirty="0"/>
          </a:p>
        </p:txBody>
      </p:sp>
    </p:spTree>
    <p:extLst>
      <p:ext uri="{BB962C8B-B14F-4D97-AF65-F5344CB8AC3E}">
        <p14:creationId xmlns:p14="http://schemas.microsoft.com/office/powerpoint/2010/main" val="237299645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4" r:id="rId4"/>
    <p:sldLayoutId id="2147483675" r:id="rId5"/>
    <p:sldLayoutId id="2147483677" r:id="rId6"/>
    <p:sldLayoutId id="2147483678" r:id="rId7"/>
    <p:sldLayoutId id="2147483748" r:id="rId8"/>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3"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smtClean="0"/>
              <a:pPr>
                <a:defRPr/>
              </a:pPr>
              <a:t>‹N°›</a:t>
            </a:fld>
            <a:endParaRPr lang="en-US" dirty="0"/>
          </a:p>
        </p:txBody>
      </p:sp>
    </p:spTree>
    <p:extLst>
      <p:ext uri="{BB962C8B-B14F-4D97-AF65-F5344CB8AC3E}">
        <p14:creationId xmlns:p14="http://schemas.microsoft.com/office/powerpoint/2010/main" val="68040092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5" r:id="rId4"/>
    <p:sldLayoutId id="2147483686" r:id="rId5"/>
  </p:sldLayoutIdLst>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B534E8-6B0C-8A41-9869-A3F5CDF2CC98}" type="datetimeFigureOut">
              <a:rPr lang="en-US" smtClean="0"/>
              <a:t>9/1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041C85-46E5-8649-8CB5-559295B1D80A}" type="slidenum">
              <a:rPr lang="en-US" smtClean="0"/>
              <a:t>‹N°›</a:t>
            </a:fld>
            <a:endParaRPr lang="en-US" dirty="0"/>
          </a:p>
        </p:txBody>
      </p:sp>
    </p:spTree>
    <p:extLst>
      <p:ext uri="{BB962C8B-B14F-4D97-AF65-F5344CB8AC3E}">
        <p14:creationId xmlns:p14="http://schemas.microsoft.com/office/powerpoint/2010/main" val="28856323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6" descr="GPEI inside pages.jp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a:spLocks noGrp="1"/>
          </p:cNvSpPr>
          <p:nvPr>
            <p:ph type="sldNum" sz="quarter" idx="4"/>
          </p:nvPr>
        </p:nvSpPr>
        <p:spPr>
          <a:xfrm>
            <a:off x="0" y="6604000"/>
            <a:ext cx="2370016" cy="254000"/>
          </a:xfrm>
          <a:prstGeom prst="rect">
            <a:avLst/>
          </a:prstGeom>
        </p:spPr>
        <p:txBody>
          <a:bodyPr vert="horz" lIns="91440" tIns="45720" rIns="91440" bIns="45720" rtlCol="0" anchor="ctr"/>
          <a:lstStyle>
            <a:lvl1pPr algn="r" defTabSz="457200" fontAlgn="auto">
              <a:spcBef>
                <a:spcPts val="0"/>
              </a:spcBef>
              <a:spcAft>
                <a:spcPts val="0"/>
              </a:spcAft>
              <a:defRPr sz="1200">
                <a:solidFill>
                  <a:prstClr val="white"/>
                </a:solidFill>
                <a:latin typeface="+mn-lt"/>
                <a:cs typeface="+mn-cs"/>
              </a:defRPr>
            </a:lvl1pPr>
          </a:lstStyle>
          <a:p>
            <a:pPr>
              <a:defRPr/>
            </a:pPr>
            <a:fld id="{9E64F902-AC44-4D3A-950E-4CCB65B6F726}" type="slidenum">
              <a:rPr lang="en-US"/>
              <a:pPr>
                <a:defRPr/>
              </a:pPr>
              <a:t>‹N°›</a:t>
            </a:fld>
            <a:endParaRPr lang="en-US" dirty="0"/>
          </a:p>
        </p:txBody>
      </p:sp>
    </p:spTree>
    <p:extLst>
      <p:ext uri="{BB962C8B-B14F-4D97-AF65-F5344CB8AC3E}">
        <p14:creationId xmlns:p14="http://schemas.microsoft.com/office/powerpoint/2010/main" val="339177867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3" r:id="rId3"/>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6" descr="GPEI inside pages.jp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5" name="Footer Placeholder 4"/>
          <p:cNvSpPr>
            <a:spLocks noGrp="1"/>
          </p:cNvSpPr>
          <p:nvPr>
            <p:ph type="ftr" sz="quarter" idx="3"/>
          </p:nvPr>
        </p:nvSpPr>
        <p:spPr>
          <a:xfrm>
            <a:off x="2429937" y="6604000"/>
            <a:ext cx="9084733" cy="254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bg1"/>
                </a:solidFill>
                <a:latin typeface="Calibri" pitchFamily="34" charset="0"/>
              </a:defRPr>
            </a:lvl1pPr>
          </a:lstStyle>
          <a:p>
            <a:pPr>
              <a:defRPr/>
            </a:pPr>
            <a:endParaRPr lang="en-US"/>
          </a:p>
        </p:txBody>
      </p:sp>
      <p:sp>
        <p:nvSpPr>
          <p:cNvPr id="6" name="Slide Number Placeholder 5"/>
          <p:cNvSpPr>
            <a:spLocks noGrp="1"/>
          </p:cNvSpPr>
          <p:nvPr>
            <p:ph type="sldNum" sz="quarter" idx="4"/>
          </p:nvPr>
        </p:nvSpPr>
        <p:spPr>
          <a:xfrm>
            <a:off x="2" y="6604000"/>
            <a:ext cx="2370667"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a:defRPr/>
            </a:pPr>
            <a:fld id="{5CB9A389-E42F-4682-8D9E-ADBAEC272BDE}" type="slidenum">
              <a:rPr lang="en-US"/>
              <a:pPr>
                <a:defRPr/>
              </a:pPr>
              <a:t>‹N°›</a:t>
            </a:fld>
            <a:endParaRPr lang="en-US" dirty="0"/>
          </a:p>
        </p:txBody>
      </p:sp>
    </p:spTree>
    <p:extLst>
      <p:ext uri="{BB962C8B-B14F-4D97-AF65-F5344CB8AC3E}">
        <p14:creationId xmlns:p14="http://schemas.microsoft.com/office/powerpoint/2010/main" val="351408864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30" r:id="rId4"/>
    <p:sldLayoutId id="2147483731" r:id="rId5"/>
    <p:sldLayoutId id="2147483732" r:id="rId6"/>
    <p:sldLayoutId id="2147483733" r:id="rId7"/>
    <p:sldLayoutId id="2147483734" r:id="rId8"/>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296C9A0-6F92-665B-D16C-410E1F19A8EB}"/>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fr-FR"/>
              <a:t>Click to edit Master title style</a:t>
            </a:r>
          </a:p>
        </p:txBody>
      </p:sp>
      <p:sp>
        <p:nvSpPr>
          <p:cNvPr id="1027" name="Text Placeholder 2">
            <a:extLst>
              <a:ext uri="{FF2B5EF4-FFF2-40B4-BE49-F238E27FC236}">
                <a16:creationId xmlns:a16="http://schemas.microsoft.com/office/drawing/2014/main" id="{60F9AC8F-F33B-0EC5-FFA2-8BD19A8F61E5}"/>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p>
        </p:txBody>
      </p:sp>
      <p:sp>
        <p:nvSpPr>
          <p:cNvPr id="4" name="Date Placeholder 3">
            <a:extLst>
              <a:ext uri="{FF2B5EF4-FFF2-40B4-BE49-F238E27FC236}">
                <a16:creationId xmlns:a16="http://schemas.microsoft.com/office/drawing/2014/main" id="{4CB697CD-5BB5-8E4E-35C4-13F48B551028}"/>
              </a:ext>
            </a:extLst>
          </p:cNvPr>
          <p:cNvSpPr>
            <a:spLocks noGrp="1"/>
          </p:cNvSpPr>
          <p:nvPr>
            <p:ph type="dt" sz="half" idx="2"/>
          </p:nvPr>
        </p:nvSpPr>
        <p:spPr>
          <a:xfrm>
            <a:off x="609600" y="6356350"/>
            <a:ext cx="2843213" cy="365125"/>
          </a:xfrm>
          <a:prstGeom prst="rect">
            <a:avLst/>
          </a:prstGeom>
        </p:spPr>
        <p:txBody>
          <a:bodyPr vert="horz" lIns="91440" tIns="45720" rIns="91440" bIns="45720" rtlCol="0" anchor="ctr"/>
          <a:lstStyle>
            <a:lvl1pPr algn="l">
              <a:spcBef>
                <a:spcPct val="75000"/>
              </a:spcBef>
              <a:defRPr sz="1477">
                <a:solidFill>
                  <a:schemeClr val="tx1">
                    <a:tint val="75000"/>
                  </a:schemeClr>
                </a:solidFill>
                <a:latin typeface="Arial" charset="0"/>
              </a:defRPr>
            </a:lvl1pPr>
          </a:lstStyle>
          <a:p>
            <a:pPr>
              <a:defRPr/>
            </a:pPr>
            <a:endParaRPr lang="en-US"/>
          </a:p>
        </p:txBody>
      </p:sp>
      <p:sp>
        <p:nvSpPr>
          <p:cNvPr id="5" name="Footer Placeholder 4">
            <a:extLst>
              <a:ext uri="{FF2B5EF4-FFF2-40B4-BE49-F238E27FC236}">
                <a16:creationId xmlns:a16="http://schemas.microsoft.com/office/drawing/2014/main" id="{A68011C1-02F1-DF14-9463-BD26B23CD546}"/>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spcBef>
                <a:spcPct val="75000"/>
              </a:spcBef>
              <a:defRPr sz="1477">
                <a:solidFill>
                  <a:schemeClr val="tx1">
                    <a:tint val="75000"/>
                  </a:schemeClr>
                </a:solidFill>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53467A22-39A4-AD83-796A-5EA973AEA4A4}"/>
              </a:ext>
            </a:extLst>
          </p:cNvPr>
          <p:cNvSpPr>
            <a:spLocks noGrp="1"/>
          </p:cNvSpPr>
          <p:nvPr>
            <p:ph type="sldNum" sz="quarter" idx="4"/>
          </p:nvPr>
        </p:nvSpPr>
        <p:spPr>
          <a:xfrm>
            <a:off x="8739188" y="6356350"/>
            <a:ext cx="2843212" cy="365125"/>
          </a:xfrm>
          <a:prstGeom prst="rect">
            <a:avLst/>
          </a:prstGeom>
        </p:spPr>
        <p:txBody>
          <a:bodyPr vert="horz" wrap="square" lIns="91440" tIns="45720" rIns="91440" bIns="45720" numCol="1" anchor="ctr" anchorCtr="0" compatLnSpc="1">
            <a:prstTxWarp prst="textNoShape">
              <a:avLst/>
            </a:prstTxWarp>
          </a:bodyPr>
          <a:lstStyle>
            <a:lvl1pPr algn="r">
              <a:spcBef>
                <a:spcPct val="75000"/>
              </a:spcBef>
              <a:defRPr sz="1477">
                <a:solidFill>
                  <a:srgbClr val="898989"/>
                </a:solidFill>
              </a:defRPr>
            </a:lvl1pPr>
          </a:lstStyle>
          <a:p>
            <a:pPr>
              <a:defRPr/>
            </a:pPr>
            <a:fld id="{C390FB80-4E26-4934-AB21-69C8CC4712C1}" type="slidenum">
              <a:rPr lang="en-US" altLang="fr-FR"/>
              <a:pPr>
                <a:defRPr/>
              </a:pPr>
              <a:t>‹N°›</a:t>
            </a:fld>
            <a:endParaRPr lang="en-US" altLang="fr-FR"/>
          </a:p>
        </p:txBody>
      </p:sp>
    </p:spTree>
    <p:extLst>
      <p:ext uri="{BB962C8B-B14F-4D97-AF65-F5344CB8AC3E}">
        <p14:creationId xmlns:p14="http://schemas.microsoft.com/office/powerpoint/2010/main" val="31878775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ransition spd="med">
    <p:cover dir="r"/>
  </p:transition>
  <p:txStyles>
    <p:titleStyle>
      <a:lvl1pPr algn="ctr" rtl="0" eaLnBrk="0" fontAlgn="base" hangingPunct="0">
        <a:spcBef>
          <a:spcPct val="0"/>
        </a:spcBef>
        <a:spcAft>
          <a:spcPct val="0"/>
        </a:spcAft>
        <a:defRPr sz="5400" kern="1200">
          <a:solidFill>
            <a:schemeClr val="tx1"/>
          </a:solidFill>
          <a:latin typeface="+mj-lt"/>
          <a:ea typeface="+mj-ea"/>
          <a:cs typeface="+mj-cs"/>
        </a:defRPr>
      </a:lvl1pPr>
      <a:lvl2pPr algn="ctr" rtl="0" eaLnBrk="0" fontAlgn="base" hangingPunct="0">
        <a:spcBef>
          <a:spcPct val="0"/>
        </a:spcBef>
        <a:spcAft>
          <a:spcPct val="0"/>
        </a:spcAft>
        <a:defRPr sz="5400">
          <a:solidFill>
            <a:schemeClr val="tx1"/>
          </a:solidFill>
          <a:latin typeface="Calibri" pitchFamily="34" charset="0"/>
        </a:defRPr>
      </a:lvl2pPr>
      <a:lvl3pPr algn="ctr" rtl="0" eaLnBrk="0" fontAlgn="base" hangingPunct="0">
        <a:spcBef>
          <a:spcPct val="0"/>
        </a:spcBef>
        <a:spcAft>
          <a:spcPct val="0"/>
        </a:spcAft>
        <a:defRPr sz="5400">
          <a:solidFill>
            <a:schemeClr val="tx1"/>
          </a:solidFill>
          <a:latin typeface="Calibri" pitchFamily="34" charset="0"/>
        </a:defRPr>
      </a:lvl3pPr>
      <a:lvl4pPr algn="ctr" rtl="0" eaLnBrk="0" fontAlgn="base" hangingPunct="0">
        <a:spcBef>
          <a:spcPct val="0"/>
        </a:spcBef>
        <a:spcAft>
          <a:spcPct val="0"/>
        </a:spcAft>
        <a:defRPr sz="5400">
          <a:solidFill>
            <a:schemeClr val="tx1"/>
          </a:solidFill>
          <a:latin typeface="Calibri" pitchFamily="34" charset="0"/>
        </a:defRPr>
      </a:lvl4pPr>
      <a:lvl5pPr algn="ctr" rtl="0" eaLnBrk="0" fontAlgn="base" hangingPunct="0">
        <a:spcBef>
          <a:spcPct val="0"/>
        </a:spcBef>
        <a:spcAft>
          <a:spcPct val="0"/>
        </a:spcAft>
        <a:defRPr sz="5400">
          <a:solidFill>
            <a:schemeClr val="tx1"/>
          </a:solidFill>
          <a:latin typeface="Calibri" pitchFamily="34" charset="0"/>
        </a:defRPr>
      </a:lvl5pPr>
      <a:lvl6pPr marL="562905" algn="ctr" rtl="0" fontAlgn="base">
        <a:spcBef>
          <a:spcPct val="0"/>
        </a:spcBef>
        <a:spcAft>
          <a:spcPct val="0"/>
        </a:spcAft>
        <a:defRPr sz="5417">
          <a:solidFill>
            <a:schemeClr val="tx1"/>
          </a:solidFill>
          <a:latin typeface="Calibri" pitchFamily="34" charset="0"/>
        </a:defRPr>
      </a:lvl6pPr>
      <a:lvl7pPr marL="1125809" algn="ctr" rtl="0" fontAlgn="base">
        <a:spcBef>
          <a:spcPct val="0"/>
        </a:spcBef>
        <a:spcAft>
          <a:spcPct val="0"/>
        </a:spcAft>
        <a:defRPr sz="5417">
          <a:solidFill>
            <a:schemeClr val="tx1"/>
          </a:solidFill>
          <a:latin typeface="Calibri" pitchFamily="34" charset="0"/>
        </a:defRPr>
      </a:lvl7pPr>
      <a:lvl8pPr marL="1688714" algn="ctr" rtl="0" fontAlgn="base">
        <a:spcBef>
          <a:spcPct val="0"/>
        </a:spcBef>
        <a:spcAft>
          <a:spcPct val="0"/>
        </a:spcAft>
        <a:defRPr sz="5417">
          <a:solidFill>
            <a:schemeClr val="tx1"/>
          </a:solidFill>
          <a:latin typeface="Calibri" pitchFamily="34" charset="0"/>
        </a:defRPr>
      </a:lvl8pPr>
      <a:lvl9pPr marL="2251619" algn="ctr" rtl="0" fontAlgn="base">
        <a:spcBef>
          <a:spcPct val="0"/>
        </a:spcBef>
        <a:spcAft>
          <a:spcPct val="0"/>
        </a:spcAft>
        <a:defRPr sz="5417">
          <a:solidFill>
            <a:schemeClr val="tx1"/>
          </a:solidFill>
          <a:latin typeface="Calibri" pitchFamily="34" charset="0"/>
        </a:defRPr>
      </a:lvl9pPr>
    </p:titleStyle>
    <p:bodyStyle>
      <a:lvl1pPr marL="420688" indent="-420688" algn="l" rtl="0" eaLnBrk="0" fontAlgn="base" hangingPunct="0">
        <a:spcBef>
          <a:spcPct val="20000"/>
        </a:spcBef>
        <a:spcAft>
          <a:spcPct val="0"/>
        </a:spcAft>
        <a:buFont typeface="Arial" panose="020B0604020202020204" pitchFamily="34" charset="0"/>
        <a:buChar char="•"/>
        <a:defRPr sz="3900" kern="1200">
          <a:solidFill>
            <a:schemeClr val="tx1"/>
          </a:solidFill>
          <a:latin typeface="+mn-lt"/>
          <a:ea typeface="+mn-ea"/>
          <a:cs typeface="+mn-cs"/>
        </a:defRPr>
      </a:lvl1pPr>
      <a:lvl2pPr marL="914400" indent="-350838"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2pPr>
      <a:lvl3pPr marL="1406525" indent="-280988" algn="l" rtl="0" eaLnBrk="0" fontAlgn="base" hangingPunct="0">
        <a:spcBef>
          <a:spcPct val="20000"/>
        </a:spcBef>
        <a:spcAft>
          <a:spcPct val="0"/>
        </a:spcAft>
        <a:buFont typeface="Arial" panose="020B0604020202020204" pitchFamily="34" charset="0"/>
        <a:buChar char="•"/>
        <a:defRPr sz="2900" kern="1200">
          <a:solidFill>
            <a:schemeClr val="tx1"/>
          </a:solidFill>
          <a:latin typeface="+mn-lt"/>
          <a:ea typeface="+mn-ea"/>
          <a:cs typeface="+mn-cs"/>
        </a:defRPr>
      </a:lvl3pPr>
      <a:lvl4pPr marL="1970088" indent="-280988"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4pPr>
      <a:lvl5pPr marL="2532063" indent="-280988"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5pPr>
      <a:lvl6pPr marL="3095976"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6pPr>
      <a:lvl7pPr marL="3658880"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7pPr>
      <a:lvl8pPr marL="4221785"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8pPr>
      <a:lvl9pPr marL="4784689" indent="-281452" algn="l" defTabSz="1125809" rtl="0" eaLnBrk="1" latinLnBrk="0" hangingPunct="1">
        <a:spcBef>
          <a:spcPct val="20000"/>
        </a:spcBef>
        <a:buFont typeface="Arial" pitchFamily="34" charset="0"/>
        <a:buChar char="•"/>
        <a:defRPr sz="2462" kern="1200">
          <a:solidFill>
            <a:schemeClr val="tx1"/>
          </a:solidFill>
          <a:latin typeface="+mn-lt"/>
          <a:ea typeface="+mn-ea"/>
          <a:cs typeface="+mn-cs"/>
        </a:defRPr>
      </a:lvl9pPr>
    </p:bodyStyle>
    <p:otherStyle>
      <a:defPPr>
        <a:defRPr lang="en-US"/>
      </a:defPPr>
      <a:lvl1pPr marL="0" algn="l" defTabSz="1125809" rtl="0" eaLnBrk="1" latinLnBrk="0" hangingPunct="1">
        <a:defRPr sz="2216" kern="1200">
          <a:solidFill>
            <a:schemeClr val="tx1"/>
          </a:solidFill>
          <a:latin typeface="+mn-lt"/>
          <a:ea typeface="+mn-ea"/>
          <a:cs typeface="+mn-cs"/>
        </a:defRPr>
      </a:lvl1pPr>
      <a:lvl2pPr marL="562905" algn="l" defTabSz="1125809" rtl="0" eaLnBrk="1" latinLnBrk="0" hangingPunct="1">
        <a:defRPr sz="2216" kern="1200">
          <a:solidFill>
            <a:schemeClr val="tx1"/>
          </a:solidFill>
          <a:latin typeface="+mn-lt"/>
          <a:ea typeface="+mn-ea"/>
          <a:cs typeface="+mn-cs"/>
        </a:defRPr>
      </a:lvl2pPr>
      <a:lvl3pPr marL="1125809" algn="l" defTabSz="1125809" rtl="0" eaLnBrk="1" latinLnBrk="0" hangingPunct="1">
        <a:defRPr sz="2216" kern="1200">
          <a:solidFill>
            <a:schemeClr val="tx1"/>
          </a:solidFill>
          <a:latin typeface="+mn-lt"/>
          <a:ea typeface="+mn-ea"/>
          <a:cs typeface="+mn-cs"/>
        </a:defRPr>
      </a:lvl3pPr>
      <a:lvl4pPr marL="1688714" algn="l" defTabSz="1125809" rtl="0" eaLnBrk="1" latinLnBrk="0" hangingPunct="1">
        <a:defRPr sz="2216" kern="1200">
          <a:solidFill>
            <a:schemeClr val="tx1"/>
          </a:solidFill>
          <a:latin typeface="+mn-lt"/>
          <a:ea typeface="+mn-ea"/>
          <a:cs typeface="+mn-cs"/>
        </a:defRPr>
      </a:lvl4pPr>
      <a:lvl5pPr marL="2251619" algn="l" defTabSz="1125809" rtl="0" eaLnBrk="1" latinLnBrk="0" hangingPunct="1">
        <a:defRPr sz="2216" kern="1200">
          <a:solidFill>
            <a:schemeClr val="tx1"/>
          </a:solidFill>
          <a:latin typeface="+mn-lt"/>
          <a:ea typeface="+mn-ea"/>
          <a:cs typeface="+mn-cs"/>
        </a:defRPr>
      </a:lvl5pPr>
      <a:lvl6pPr marL="2814523" algn="l" defTabSz="1125809" rtl="0" eaLnBrk="1" latinLnBrk="0" hangingPunct="1">
        <a:defRPr sz="2216" kern="1200">
          <a:solidFill>
            <a:schemeClr val="tx1"/>
          </a:solidFill>
          <a:latin typeface="+mn-lt"/>
          <a:ea typeface="+mn-ea"/>
          <a:cs typeface="+mn-cs"/>
        </a:defRPr>
      </a:lvl6pPr>
      <a:lvl7pPr marL="3377428" algn="l" defTabSz="1125809" rtl="0" eaLnBrk="1" latinLnBrk="0" hangingPunct="1">
        <a:defRPr sz="2216" kern="1200">
          <a:solidFill>
            <a:schemeClr val="tx1"/>
          </a:solidFill>
          <a:latin typeface="+mn-lt"/>
          <a:ea typeface="+mn-ea"/>
          <a:cs typeface="+mn-cs"/>
        </a:defRPr>
      </a:lvl7pPr>
      <a:lvl8pPr marL="3940332" algn="l" defTabSz="1125809" rtl="0" eaLnBrk="1" latinLnBrk="0" hangingPunct="1">
        <a:defRPr sz="2216" kern="1200">
          <a:solidFill>
            <a:schemeClr val="tx1"/>
          </a:solidFill>
          <a:latin typeface="+mn-lt"/>
          <a:ea typeface="+mn-ea"/>
          <a:cs typeface="+mn-cs"/>
        </a:defRPr>
      </a:lvl8pPr>
      <a:lvl9pPr marL="4503237" algn="l" defTabSz="1125809" rtl="0" eaLnBrk="1" latinLnBrk="0" hangingPunct="1">
        <a:defRPr sz="221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gif"/><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jpeg"/></Relationships>
</file>

<file path=ppt/slides/_rels/slide1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60.jpe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image" Target="../media/image63.jpeg"/><Relationship Id="rId4" Type="http://schemas.openxmlformats.org/officeDocument/2006/relationships/image" Target="../media/image62.jpeg"/></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www.youtube.com/watch?v=dTYY8l8lMdk" TargetMode="External"/><Relationship Id="rId1" Type="http://schemas.openxmlformats.org/officeDocument/2006/relationships/slideLayout" Target="../slideLayouts/slideLayout8.xml"/><Relationship Id="rId5" Type="http://schemas.openxmlformats.org/officeDocument/2006/relationships/image" Target="../media/image66.png"/><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www.cerclepolioplus.org/" TargetMode="External"/><Relationship Id="rId1" Type="http://schemas.openxmlformats.org/officeDocument/2006/relationships/slideLayout" Target="../slideLayouts/slideLayout9.xml"/><Relationship Id="rId5" Type="http://schemas.openxmlformats.org/officeDocument/2006/relationships/image" Target="../media/image69.png"/><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14.jpe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image" Target="../media/image23.png"/><Relationship Id="rId16" Type="http://schemas.openxmlformats.org/officeDocument/2006/relationships/image" Target="../media/image37.png"/><Relationship Id="rId1" Type="http://schemas.openxmlformats.org/officeDocument/2006/relationships/slideLayout" Target="../slideLayouts/slideLayout1.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svg"/><Relationship Id="rId15" Type="http://schemas.openxmlformats.org/officeDocument/2006/relationships/image" Target="../media/image36.svg"/><Relationship Id="rId10" Type="http://schemas.openxmlformats.org/officeDocument/2006/relationships/image" Target="../media/image31.jpeg"/><Relationship Id="rId4" Type="http://schemas.openxmlformats.org/officeDocument/2006/relationships/image" Target="../media/image25.svg"/><Relationship Id="rId9" Type="http://schemas.openxmlformats.org/officeDocument/2006/relationships/image" Target="../media/image30.svg"/><Relationship Id="rId14" Type="http://schemas.openxmlformats.org/officeDocument/2006/relationships/image" Target="../media/image35.sv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37.xml"/><Relationship Id="rId5" Type="http://schemas.openxmlformats.org/officeDocument/2006/relationships/image" Target="../media/image40.jpe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13.jpeg"/><Relationship Id="rId5" Type="http://schemas.openxmlformats.org/officeDocument/2006/relationships/image" Target="../media/image12.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3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48.jpe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52.png"/><Relationship Id="rId11" Type="http://schemas.openxmlformats.org/officeDocument/2006/relationships/image" Target="../media/image13.jpeg"/><Relationship Id="rId5" Type="http://schemas.openxmlformats.org/officeDocument/2006/relationships/image" Target="../media/image51.png"/><Relationship Id="rId10" Type="http://schemas.openxmlformats.org/officeDocument/2006/relationships/image" Target="../media/image12.png"/><Relationship Id="rId4" Type="http://schemas.openxmlformats.org/officeDocument/2006/relationships/image" Target="../media/image50.png"/><Relationship Id="rId9"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43" name="TextBox 4"/>
          <p:cNvSpPr txBox="1">
            <a:spLocks noChangeArrowheads="1"/>
          </p:cNvSpPr>
          <p:nvPr/>
        </p:nvSpPr>
        <p:spPr bwMode="auto">
          <a:xfrm>
            <a:off x="2663573" y="3130297"/>
            <a:ext cx="9699321" cy="989039"/>
          </a:xfrm>
          <a:prstGeom prst="rect">
            <a:avLst/>
          </a:prstGeom>
        </p:spPr>
        <p:txBody>
          <a:bodyPr lIns="0" tIns="93600" rIns="0" bIns="0"/>
          <a:lstStyle>
            <a:lvl1pPr defTabSz="457200" eaLnBrk="0" hangingPunct="0">
              <a:defRPr>
                <a:solidFill>
                  <a:schemeClr val="tx1"/>
                </a:solidFill>
                <a:latin typeface="Arial" charset="0"/>
                <a:cs typeface="Arial" charset="0"/>
              </a:defRPr>
            </a:lvl1pPr>
            <a:lvl2pPr marL="742950" indent="-285750" defTabSz="457200" eaLnBrk="0" hangingPunct="0">
              <a:defRPr>
                <a:solidFill>
                  <a:schemeClr val="tx1"/>
                </a:solidFill>
                <a:latin typeface="Arial" charset="0"/>
                <a:cs typeface="Arial" charset="0"/>
              </a:defRPr>
            </a:lvl2pPr>
            <a:lvl3pPr marL="1143000" indent="-228600" defTabSz="457200" eaLnBrk="0" hangingPunct="0">
              <a:defRPr>
                <a:solidFill>
                  <a:schemeClr val="tx1"/>
                </a:solidFill>
                <a:latin typeface="Arial" charset="0"/>
                <a:cs typeface="Arial" charset="0"/>
              </a:defRPr>
            </a:lvl3pPr>
            <a:lvl4pPr marL="1600200" indent="-228600" defTabSz="457200" eaLnBrk="0" hangingPunct="0">
              <a:defRPr>
                <a:solidFill>
                  <a:schemeClr val="tx1"/>
                </a:solidFill>
                <a:latin typeface="Arial" charset="0"/>
                <a:cs typeface="Arial" charset="0"/>
              </a:defRPr>
            </a:lvl4pPr>
            <a:lvl5pPr marL="2057400" indent="-228600" defTabSz="4572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ts val="300"/>
              </a:spcBef>
              <a:spcAft>
                <a:spcPct val="0"/>
              </a:spcAft>
              <a:defRPr/>
            </a:pPr>
            <a:r>
              <a:rPr lang="fr-FR" sz="2400" b="1" dirty="0">
                <a:solidFill>
                  <a:srgbClr val="FFFFFF"/>
                </a:solidFill>
                <a:latin typeface="Calibri"/>
                <a:cs typeface="Lucida Sans Unicode" pitchFamily="34" charset="0"/>
              </a:rPr>
              <a:t>Séminaire Fondation D2160</a:t>
            </a:r>
          </a:p>
          <a:p>
            <a:pPr defTabSz="914400" eaLnBrk="1" fontAlgn="base" hangingPunct="1">
              <a:spcBef>
                <a:spcPts val="300"/>
              </a:spcBef>
              <a:spcAft>
                <a:spcPct val="0"/>
              </a:spcAft>
              <a:defRPr/>
            </a:pPr>
            <a:r>
              <a:rPr lang="fr-FR" sz="2400" dirty="0">
                <a:solidFill>
                  <a:srgbClr val="FFFFFF"/>
                </a:solidFill>
                <a:latin typeface="Calibri"/>
                <a:cs typeface="Lucida Sans Unicode" pitchFamily="34" charset="0"/>
              </a:rPr>
              <a:t>Luxembourg 22-09-2023 et Libramont 30-09-2023</a:t>
            </a:r>
          </a:p>
          <a:p>
            <a:pPr lvl="0" defTabSz="914400" eaLnBrk="1" fontAlgn="base" hangingPunct="1">
              <a:spcBef>
                <a:spcPts val="300"/>
              </a:spcBef>
              <a:spcAft>
                <a:spcPct val="0"/>
              </a:spcAft>
              <a:defRPr/>
            </a:pPr>
            <a:r>
              <a:rPr lang="fr-FR" sz="2000" dirty="0">
                <a:solidFill>
                  <a:srgbClr val="FFFFFF"/>
                </a:solidFill>
                <a:latin typeface="Calibri"/>
                <a:cs typeface="Lucida Sans Unicode" pitchFamily="34" charset="0"/>
              </a:rPr>
              <a:t>Xavier Demoisy et l’équipe de la Fondation</a:t>
            </a:r>
            <a:endParaRPr kumimoji="0" lang="fr-FR" sz="2000" b="0" i="0" u="none" strike="noStrike" kern="1200" cap="none" spc="0" normalizeH="0" baseline="0" noProof="0" dirty="0">
              <a:ln>
                <a:noFill/>
              </a:ln>
              <a:solidFill>
                <a:srgbClr val="FFFFFF"/>
              </a:solidFill>
              <a:effectLst/>
              <a:uLnTx/>
              <a:uFillTx/>
              <a:latin typeface="Calibri"/>
              <a:ea typeface="+mn-ea"/>
              <a:cs typeface="Lucida Sans Unicode" pitchFamily="34" charset="0"/>
            </a:endParaRPr>
          </a:p>
        </p:txBody>
      </p:sp>
      <p:grpSp>
        <p:nvGrpSpPr>
          <p:cNvPr id="24" name="Group 23">
            <a:extLst>
              <a:ext uri="{FF2B5EF4-FFF2-40B4-BE49-F238E27FC236}">
                <a16:creationId xmlns:a16="http://schemas.microsoft.com/office/drawing/2014/main" id="{6B93F28A-9546-445C-BD66-09574F61C5CC}"/>
              </a:ext>
            </a:extLst>
          </p:cNvPr>
          <p:cNvGrpSpPr/>
          <p:nvPr/>
        </p:nvGrpSpPr>
        <p:grpSpPr>
          <a:xfrm>
            <a:off x="104775" y="4414979"/>
            <a:ext cx="11823116" cy="1427291"/>
            <a:chOff x="117440" y="4585823"/>
            <a:chExt cx="8909120" cy="1081194"/>
          </a:xfrm>
        </p:grpSpPr>
        <p:sp>
          <p:nvSpPr>
            <p:cNvPr id="25" name="Rectangle 24">
              <a:extLst>
                <a:ext uri="{FF2B5EF4-FFF2-40B4-BE49-F238E27FC236}">
                  <a16:creationId xmlns:a16="http://schemas.microsoft.com/office/drawing/2014/main" id="{4B2D3D81-775B-4EC0-8C07-405984116BB7}"/>
                </a:ext>
              </a:extLst>
            </p:cNvPr>
            <p:cNvSpPr/>
            <p:nvPr/>
          </p:nvSpPr>
          <p:spPr>
            <a:xfrm>
              <a:off x="117440" y="4585823"/>
              <a:ext cx="8828734" cy="1081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6" name="Group 25">
              <a:extLst>
                <a:ext uri="{FF2B5EF4-FFF2-40B4-BE49-F238E27FC236}">
                  <a16:creationId xmlns:a16="http://schemas.microsoft.com/office/drawing/2014/main" id="{EE9E6C45-F1FF-4FDE-BB41-CC59D5CF0DF5}"/>
                </a:ext>
              </a:extLst>
            </p:cNvPr>
            <p:cNvGrpSpPr/>
            <p:nvPr/>
          </p:nvGrpSpPr>
          <p:grpSpPr>
            <a:xfrm>
              <a:off x="204278" y="4932892"/>
              <a:ext cx="8822282" cy="707221"/>
              <a:chOff x="2907582" y="4952469"/>
              <a:chExt cx="8822282" cy="707221"/>
            </a:xfrm>
            <a:solidFill>
              <a:schemeClr val="bg1"/>
            </a:solidFill>
          </p:grpSpPr>
          <p:pic>
            <p:nvPicPr>
              <p:cNvPr id="27" name="Google Shape;67;p3">
                <a:extLst>
                  <a:ext uri="{FF2B5EF4-FFF2-40B4-BE49-F238E27FC236}">
                    <a16:creationId xmlns:a16="http://schemas.microsoft.com/office/drawing/2014/main" id="{2510BB80-5033-44C1-B618-9ED1887DC96C}"/>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10403824" y="4952469"/>
                <a:ext cx="1326040" cy="707221"/>
              </a:xfrm>
              <a:prstGeom prst="rect">
                <a:avLst/>
              </a:prstGeom>
              <a:grpFill/>
              <a:ln>
                <a:noFill/>
              </a:ln>
            </p:spPr>
          </p:pic>
          <p:pic>
            <p:nvPicPr>
              <p:cNvPr id="28" name="Google Shape;68;p3" descr="A close up of a sign&#10;&#10;Description generated with very high confidence">
                <a:extLst>
                  <a:ext uri="{FF2B5EF4-FFF2-40B4-BE49-F238E27FC236}">
                    <a16:creationId xmlns:a16="http://schemas.microsoft.com/office/drawing/2014/main" id="{B93637BE-1A7B-404D-942C-78E16657F3FA}"/>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8892357" y="5152735"/>
                <a:ext cx="1526630" cy="306689"/>
              </a:xfrm>
              <a:prstGeom prst="rect">
                <a:avLst/>
              </a:prstGeom>
              <a:grpFill/>
              <a:ln>
                <a:noFill/>
              </a:ln>
            </p:spPr>
          </p:pic>
          <p:pic>
            <p:nvPicPr>
              <p:cNvPr id="29" name="Google Shape;69;p3">
                <a:extLst>
                  <a:ext uri="{FF2B5EF4-FFF2-40B4-BE49-F238E27FC236}">
                    <a16:creationId xmlns:a16="http://schemas.microsoft.com/office/drawing/2014/main" id="{66EA2946-E8AE-4266-A682-44DE80A83894}"/>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778515" y="4952469"/>
                <a:ext cx="979714" cy="707221"/>
              </a:xfrm>
              <a:prstGeom prst="rect">
                <a:avLst/>
              </a:prstGeom>
              <a:grpFill/>
              <a:ln>
                <a:noFill/>
              </a:ln>
            </p:spPr>
          </p:pic>
          <p:pic>
            <p:nvPicPr>
              <p:cNvPr id="30" name="Google Shape;70;p3" descr="A picture containing clipart&#10;&#10;Description generated with very high confidence">
                <a:extLst>
                  <a:ext uri="{FF2B5EF4-FFF2-40B4-BE49-F238E27FC236}">
                    <a16:creationId xmlns:a16="http://schemas.microsoft.com/office/drawing/2014/main" id="{F96C0D53-94A4-4005-A358-14CBAF4D6692}"/>
                  </a:ext>
                </a:extLst>
              </p:cNvPr>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6122272" y="4988061"/>
                <a:ext cx="1575856" cy="636036"/>
              </a:xfrm>
              <a:prstGeom prst="rect">
                <a:avLst/>
              </a:prstGeom>
              <a:grpFill/>
              <a:ln>
                <a:noFill/>
              </a:ln>
            </p:spPr>
          </p:pic>
          <p:pic>
            <p:nvPicPr>
              <p:cNvPr id="31" name="Google Shape;71;p3">
                <a:extLst>
                  <a:ext uri="{FF2B5EF4-FFF2-40B4-BE49-F238E27FC236}">
                    <a16:creationId xmlns:a16="http://schemas.microsoft.com/office/drawing/2014/main" id="{B7600287-FDF5-431B-A126-E241EC39F835}"/>
                  </a:ext>
                </a:extLst>
              </p:cNvPr>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4625082" y="5143477"/>
                <a:ext cx="1340804" cy="325205"/>
              </a:xfrm>
              <a:prstGeom prst="rect">
                <a:avLst/>
              </a:prstGeom>
              <a:grpFill/>
              <a:ln>
                <a:noFill/>
              </a:ln>
            </p:spPr>
          </p:pic>
          <p:pic>
            <p:nvPicPr>
              <p:cNvPr id="32" name="Google Shape;72;p3" descr="A close up of a sign&#10;&#10;Description generated with very high confidence">
                <a:extLst>
                  <a:ext uri="{FF2B5EF4-FFF2-40B4-BE49-F238E27FC236}">
                    <a16:creationId xmlns:a16="http://schemas.microsoft.com/office/drawing/2014/main" id="{E1A187C3-1E9A-4EBE-8201-B08C06344232}"/>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2907582" y="5074449"/>
                <a:ext cx="1469696" cy="463261"/>
              </a:xfrm>
              <a:prstGeom prst="rect">
                <a:avLst/>
              </a:prstGeom>
              <a:grpFill/>
              <a:ln>
                <a:noFill/>
              </a:ln>
            </p:spPr>
          </p:pic>
        </p:grpSp>
      </p:grpSp>
      <p:sp>
        <p:nvSpPr>
          <p:cNvPr id="2" name="Rectangle 1">
            <a:extLst>
              <a:ext uri="{FF2B5EF4-FFF2-40B4-BE49-F238E27FC236}">
                <a16:creationId xmlns:a16="http://schemas.microsoft.com/office/drawing/2014/main" id="{73318073-394B-4570-9D4A-705A1DA0C499}"/>
              </a:ext>
            </a:extLst>
          </p:cNvPr>
          <p:cNvSpPr/>
          <p:nvPr/>
        </p:nvSpPr>
        <p:spPr>
          <a:xfrm>
            <a:off x="7108099" y="432182"/>
            <a:ext cx="4819792" cy="1987796"/>
          </a:xfrm>
          <a:prstGeom prst="rect">
            <a:avLst/>
          </a:prstGeom>
          <a:solidFill>
            <a:schemeClr val="bg1"/>
          </a:solidFill>
          <a:ln>
            <a:noFill/>
          </a:ln>
          <a:effectLst>
            <a:outerShdw blurRad="40000" dist="23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ZoneTexte 16">
            <a:extLst>
              <a:ext uri="{FF2B5EF4-FFF2-40B4-BE49-F238E27FC236}">
                <a16:creationId xmlns:a16="http://schemas.microsoft.com/office/drawing/2014/main" id="{49B12783-74B6-4508-8623-F770BADB5220}"/>
              </a:ext>
            </a:extLst>
          </p:cNvPr>
          <p:cNvSpPr txBox="1"/>
          <p:nvPr/>
        </p:nvSpPr>
        <p:spPr>
          <a:xfrm>
            <a:off x="584791" y="880093"/>
            <a:ext cx="11121656" cy="2015936"/>
          </a:xfrm>
          <a:prstGeom prst="rect">
            <a:avLst/>
          </a:prstGeom>
          <a:noFill/>
        </p:spPr>
        <p:txBody>
          <a:bodyPr wrap="square">
            <a:spAutoFit/>
          </a:bodyPr>
          <a:lstStyle/>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Calibri"/>
                <a:ea typeface="+mn-ea"/>
                <a:cs typeface="Lucida Sans Unicode" pitchFamily="34" charset="0"/>
              </a:rPr>
              <a:t>Eradication mondiale de la Polio </a:t>
            </a:r>
          </a:p>
          <a:p>
            <a:pPr marL="0" marR="0" lvl="0" indent="0" algn="ctr" defTabSz="914400" rtl="0" eaLnBrk="1" fontAlgn="base" latinLnBrk="0" hangingPunct="1">
              <a:lnSpc>
                <a:spcPct val="100000"/>
              </a:lnSpc>
              <a:spcBef>
                <a:spcPts val="300"/>
              </a:spcBef>
              <a:spcAft>
                <a:spcPct val="0"/>
              </a:spcAft>
              <a:buClrTx/>
              <a:buSzTx/>
              <a:buFontTx/>
              <a:buNone/>
              <a:tabLst/>
              <a:defRPr/>
            </a:pPr>
            <a:r>
              <a:rPr lang="fr-FR" sz="4000" b="1" dirty="0">
                <a:solidFill>
                  <a:prstClr val="black"/>
                </a:solidFill>
                <a:latin typeface="Calibri"/>
                <a:cs typeface="Lucida Sans Unicode" pitchFamily="34" charset="0"/>
              </a:rPr>
              <a:t>Situation Mondiale </a:t>
            </a:r>
          </a:p>
          <a:p>
            <a:pPr marL="0" marR="0" lvl="0" indent="0" algn="ctr" defTabSz="914400" rtl="0" eaLnBrk="1" fontAlgn="base" latinLnBrk="0" hangingPunct="1">
              <a:lnSpc>
                <a:spcPct val="100000"/>
              </a:lnSpc>
              <a:spcBef>
                <a:spcPts val="300"/>
              </a:spcBef>
              <a:spcAft>
                <a:spcPct val="0"/>
              </a:spcAft>
              <a:buClrTx/>
              <a:buSzTx/>
              <a:buFontTx/>
              <a:buNone/>
              <a:tabLst/>
              <a:defRPr/>
            </a:pPr>
            <a:r>
              <a:rPr kumimoji="0" lang="fr-FR" sz="4000" b="1" i="0" u="none" strike="noStrike" kern="1200" cap="none" spc="0" normalizeH="0" baseline="0" noProof="0" dirty="0">
                <a:ln>
                  <a:noFill/>
                </a:ln>
                <a:solidFill>
                  <a:prstClr val="black"/>
                </a:solidFill>
                <a:effectLst/>
                <a:uLnTx/>
                <a:uFillTx/>
                <a:latin typeface="Calibri"/>
                <a:ea typeface="+mn-ea"/>
                <a:cs typeface="Lucida Sans Unicode" pitchFamily="34" charset="0"/>
              </a:rPr>
              <a:t>&amp; quel message pour les Rotariens?</a:t>
            </a:r>
          </a:p>
        </p:txBody>
      </p:sp>
      <p:pic>
        <p:nvPicPr>
          <p:cNvPr id="7" name="Image 6">
            <a:extLst>
              <a:ext uri="{FF2B5EF4-FFF2-40B4-BE49-F238E27FC236}">
                <a16:creationId xmlns:a16="http://schemas.microsoft.com/office/drawing/2014/main" id="{CD003CA2-69D1-7C6F-05F6-2D2006A6F9F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63347" y="266060"/>
            <a:ext cx="913062" cy="1160020"/>
          </a:xfrm>
          <a:prstGeom prst="rect">
            <a:avLst/>
          </a:prstGeom>
        </p:spPr>
      </p:pic>
      <p:pic>
        <p:nvPicPr>
          <p:cNvPr id="8" name="Image 7" descr="Une image contenant texte, clipart&#10;&#10;Description générée automatiquement">
            <a:extLst>
              <a:ext uri="{FF2B5EF4-FFF2-40B4-BE49-F238E27FC236}">
                <a16:creationId xmlns:a16="http://schemas.microsoft.com/office/drawing/2014/main" id="{AC25FCB4-DEFF-2F33-0653-CC17364D563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929987" y="221715"/>
            <a:ext cx="1887182" cy="867155"/>
          </a:xfrm>
          <a:prstGeom prst="rect">
            <a:avLst/>
          </a:prstGeom>
        </p:spPr>
      </p:pic>
    </p:spTree>
    <p:extLst>
      <p:ext uri="{BB962C8B-B14F-4D97-AF65-F5344CB8AC3E}">
        <p14:creationId xmlns:p14="http://schemas.microsoft.com/office/powerpoint/2010/main" val="2364740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Image 1">
            <a:extLst>
              <a:ext uri="{FF2B5EF4-FFF2-40B4-BE49-F238E27FC236}">
                <a16:creationId xmlns:a16="http://schemas.microsoft.com/office/drawing/2014/main" id="{C1FF88A7-0FBB-8F33-0172-58FF45017BB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25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Image 1">
            <a:extLst>
              <a:ext uri="{FF2B5EF4-FFF2-40B4-BE49-F238E27FC236}">
                <a16:creationId xmlns:a16="http://schemas.microsoft.com/office/drawing/2014/main" id="{41B1CF6B-9F66-FB4A-0EDD-4C4575A57EB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25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Image 1">
            <a:extLst>
              <a:ext uri="{FF2B5EF4-FFF2-40B4-BE49-F238E27FC236}">
                <a16:creationId xmlns:a16="http://schemas.microsoft.com/office/drawing/2014/main" id="{53BC819F-451A-4B90-4EBB-A4A9B89C6DD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25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B99421-C513-43E0-BBC2-63CDC002ED7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7063" y="668177"/>
            <a:ext cx="9797572" cy="5594121"/>
          </a:xfrm>
          <a:prstGeom prst="rect">
            <a:avLst/>
          </a:prstGeom>
        </p:spPr>
      </p:pic>
      <p:sp>
        <p:nvSpPr>
          <p:cNvPr id="2" name="Explosion 1 1"/>
          <p:cNvSpPr/>
          <p:nvPr/>
        </p:nvSpPr>
        <p:spPr>
          <a:xfrm>
            <a:off x="1007062" y="3690257"/>
            <a:ext cx="3864803" cy="2572041"/>
          </a:xfrm>
          <a:prstGeom prst="irregularSeal1">
            <a:avLst/>
          </a:prstGeom>
          <a:solidFill>
            <a:srgbClr val="F49B03"/>
          </a:solidFill>
          <a:ln>
            <a:solidFill>
              <a:srgbClr val="F49B0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chemeClr val="tx1"/>
                </a:solidFill>
              </a:rPr>
              <a:t>  </a:t>
            </a:r>
            <a:r>
              <a:rPr lang="en-GB" sz="2400" b="1" dirty="0">
                <a:solidFill>
                  <a:schemeClr val="bg1"/>
                </a:solidFill>
              </a:rPr>
              <a:t>200 000 </a:t>
            </a:r>
            <a:r>
              <a:rPr lang="en-GB" sz="2400" b="1" dirty="0" err="1">
                <a:solidFill>
                  <a:schemeClr val="bg1"/>
                </a:solidFill>
              </a:rPr>
              <a:t>cas</a:t>
            </a:r>
            <a:r>
              <a:rPr lang="en-GB" sz="2400" b="1" dirty="0">
                <a:solidFill>
                  <a:schemeClr val="bg1"/>
                </a:solidFill>
              </a:rPr>
              <a:t> par an </a:t>
            </a:r>
          </a:p>
          <a:p>
            <a:pPr algn="ctr">
              <a:defRPr/>
            </a:pPr>
            <a:r>
              <a:rPr lang="en-GB" sz="2400" b="1" dirty="0" err="1">
                <a:solidFill>
                  <a:schemeClr val="bg1"/>
                </a:solidFill>
              </a:rPr>
              <a:t>en</a:t>
            </a:r>
            <a:r>
              <a:rPr lang="en-GB" sz="2400" b="1" dirty="0">
                <a:solidFill>
                  <a:schemeClr val="bg1"/>
                </a:solidFill>
              </a:rPr>
              <a:t> 10 </a:t>
            </a:r>
            <a:r>
              <a:rPr lang="en-GB" sz="2400" b="1" dirty="0" err="1">
                <a:solidFill>
                  <a:schemeClr val="bg1"/>
                </a:solidFill>
              </a:rPr>
              <a:t>ans</a:t>
            </a:r>
            <a:r>
              <a:rPr lang="en-GB" sz="2400" b="1" dirty="0">
                <a:solidFill>
                  <a:schemeClr val="bg1"/>
                </a:solidFill>
              </a:rPr>
              <a:t> </a:t>
            </a:r>
            <a:endParaRPr lang="en-US" sz="2800" b="1" dirty="0">
              <a:solidFill>
                <a:schemeClr val="bg1"/>
              </a:solidFill>
            </a:endParaRPr>
          </a:p>
        </p:txBody>
      </p:sp>
      <p:sp>
        <p:nvSpPr>
          <p:cNvPr id="30" name="Rectangle 7">
            <a:extLst>
              <a:ext uri="{FF2B5EF4-FFF2-40B4-BE49-F238E27FC236}">
                <a16:creationId xmlns:a16="http://schemas.microsoft.com/office/drawing/2014/main" id="{D13CCCDB-E865-4385-B2F9-7B9F1F8DB9EB}"/>
              </a:ext>
            </a:extLst>
          </p:cNvPr>
          <p:cNvSpPr txBox="1">
            <a:spLocks noChangeArrowheads="1"/>
          </p:cNvSpPr>
          <p:nvPr/>
        </p:nvSpPr>
        <p:spPr bwMode="auto">
          <a:xfrm>
            <a:off x="369346" y="108920"/>
            <a:ext cx="10504481" cy="1239650"/>
          </a:xfrm>
          <a:prstGeom prst="rect">
            <a:avLst/>
          </a:prstGeom>
          <a:solidFill>
            <a:schemeClr val="bg1">
              <a:alpha val="59000"/>
            </a:schemeClr>
          </a:solidFill>
          <a:ln>
            <a:noFill/>
          </a:ln>
        </p:spPr>
        <p:txBody>
          <a:bodyPr/>
          <a:lstStyle>
            <a:lvl1pPr defTabSz="449263" eaLnBrk="0" hangingPunct="0">
              <a:spcBef>
                <a:spcPct val="20000"/>
              </a:spcBef>
              <a:buChar char="•"/>
              <a:defRPr sz="3200">
                <a:solidFill>
                  <a:schemeClr val="tx1"/>
                </a:solidFill>
                <a:latin typeface="Arial" pitchFamily="34" charset="0"/>
                <a:cs typeface="Arial" pitchFamily="34" charset="0"/>
              </a:defRPr>
            </a:lvl1pPr>
            <a:lvl2pPr marL="742950" indent="-285750" defTabSz="449263" eaLnBrk="0" hangingPunct="0">
              <a:spcBef>
                <a:spcPct val="20000"/>
              </a:spcBef>
              <a:buChar char="–"/>
              <a:defRPr sz="2800">
                <a:solidFill>
                  <a:schemeClr val="tx1"/>
                </a:solidFill>
                <a:latin typeface="Arial" pitchFamily="34" charset="0"/>
                <a:cs typeface="Arial" pitchFamily="34" charset="0"/>
              </a:defRPr>
            </a:lvl2pPr>
            <a:lvl3pPr marL="1143000" indent="-228600" defTabSz="449263" eaLnBrk="0" hangingPunct="0">
              <a:spcBef>
                <a:spcPct val="20000"/>
              </a:spcBef>
              <a:buChar char="•"/>
              <a:defRPr sz="2400">
                <a:solidFill>
                  <a:schemeClr val="tx1"/>
                </a:solidFill>
                <a:latin typeface="Arial" pitchFamily="34" charset="0"/>
                <a:cs typeface="Arial" pitchFamily="34" charset="0"/>
              </a:defRPr>
            </a:lvl3pPr>
            <a:lvl4pPr marL="1600200" indent="-228600" defTabSz="449263" eaLnBrk="0" hangingPunct="0">
              <a:spcBef>
                <a:spcPct val="20000"/>
              </a:spcBef>
              <a:buChar char="–"/>
              <a:defRPr sz="2000">
                <a:solidFill>
                  <a:schemeClr val="tx1"/>
                </a:solidFill>
                <a:latin typeface="Arial" pitchFamily="34" charset="0"/>
                <a:cs typeface="Arial" pitchFamily="34" charset="0"/>
              </a:defRPr>
            </a:lvl4pPr>
            <a:lvl5pPr marL="2057400" indent="-228600" defTabSz="449263" eaLnBrk="0" hangingPunct="0">
              <a:spcBef>
                <a:spcPct val="20000"/>
              </a:spcBef>
              <a:buChar char="»"/>
              <a:defRPr sz="2000">
                <a:solidFill>
                  <a:schemeClr val="tx1"/>
                </a:solidFill>
                <a:latin typeface="Arial" pitchFamily="34" charset="0"/>
                <a:cs typeface="Arial" pitchFamily="34" charset="0"/>
              </a:defRPr>
            </a:lvl5pPr>
            <a:lvl6pPr marL="25146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defTabSz="449263"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a:spcBef>
                <a:spcPct val="0"/>
              </a:spcBef>
              <a:buClr>
                <a:srgbClr val="000066"/>
              </a:buClr>
              <a:buNone/>
            </a:pPr>
            <a:r>
              <a:rPr lang="fr-FR" altLang="en-US" sz="3600" b="1" dirty="0">
                <a:solidFill>
                  <a:srgbClr val="F49B03"/>
                </a:solidFill>
                <a:latin typeface="+mj-lt"/>
              </a:rPr>
              <a:t>Tant que le virus survit quelque part,</a:t>
            </a:r>
          </a:p>
          <a:p>
            <a:pPr algn="ctr">
              <a:spcBef>
                <a:spcPct val="0"/>
              </a:spcBef>
              <a:buClr>
                <a:srgbClr val="000066"/>
              </a:buClr>
              <a:buNone/>
            </a:pPr>
            <a:r>
              <a:rPr lang="fr-FR" altLang="en-US" sz="3600" b="1" dirty="0">
                <a:solidFill>
                  <a:srgbClr val="F49B03"/>
                </a:solidFill>
                <a:latin typeface="+mj-lt"/>
              </a:rPr>
              <a:t>le risque persiste partout! </a:t>
            </a:r>
          </a:p>
        </p:txBody>
      </p:sp>
      <p:sp>
        <p:nvSpPr>
          <p:cNvPr id="9" name="Espace réservé du numéro de diapositive 3">
            <a:extLst>
              <a:ext uri="{FF2B5EF4-FFF2-40B4-BE49-F238E27FC236}">
                <a16:creationId xmlns:a16="http://schemas.microsoft.com/office/drawing/2014/main" id="{BF1DD1BD-9C99-4E9F-ACA0-3435FD1CCC44}"/>
              </a:ext>
            </a:extLst>
          </p:cNvPr>
          <p:cNvSpPr>
            <a:spLocks noGrp="1"/>
          </p:cNvSpPr>
          <p:nvPr>
            <p:ph type="sldNum" sz="quarter" idx="12"/>
          </p:nvPr>
        </p:nvSpPr>
        <p:spPr>
          <a:xfrm>
            <a:off x="3" y="6604000"/>
            <a:ext cx="2370667" cy="254000"/>
          </a:xfrm>
        </p:spPr>
        <p:txBody>
          <a:bodyPr/>
          <a:lstStyle/>
          <a:p>
            <a:fld id="{03D5B703-056F-479E-8893-F9987D298CDC}" type="slidenum">
              <a:rPr lang="en-GB" smtClean="0"/>
              <a:pPr/>
              <a:t>13</a:t>
            </a:fld>
            <a:endParaRPr lang="en-GB"/>
          </a:p>
        </p:txBody>
      </p:sp>
      <p:sp>
        <p:nvSpPr>
          <p:cNvPr id="7" name="Bulle narrative : ronde 6">
            <a:extLst>
              <a:ext uri="{FF2B5EF4-FFF2-40B4-BE49-F238E27FC236}">
                <a16:creationId xmlns:a16="http://schemas.microsoft.com/office/drawing/2014/main" id="{4C27AA0E-6D52-BBCD-0FE9-4D0C51067DB4}"/>
              </a:ext>
            </a:extLst>
          </p:cNvPr>
          <p:cNvSpPr/>
          <p:nvPr/>
        </p:nvSpPr>
        <p:spPr>
          <a:xfrm>
            <a:off x="1819186" y="1239680"/>
            <a:ext cx="8553628" cy="4115828"/>
          </a:xfrm>
          <a:prstGeom prst="wedgeEllipseCallout">
            <a:avLst>
              <a:gd name="adj1" fmla="val -9571"/>
              <a:gd name="adj2" fmla="val 48186"/>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New York, Juillet 2022</a:t>
            </a:r>
          </a:p>
          <a:p>
            <a:pPr algn="ctr"/>
            <a:r>
              <a:rPr lang="en-US" sz="2800" b="1" dirty="0"/>
              <a:t>un homme de 20 </a:t>
            </a:r>
            <a:r>
              <a:rPr lang="en-US" sz="2800" b="1" dirty="0" err="1"/>
              <a:t>ans</a:t>
            </a:r>
            <a:r>
              <a:rPr lang="en-US" sz="2800" b="1" dirty="0"/>
              <a:t>, </a:t>
            </a:r>
          </a:p>
          <a:p>
            <a:pPr algn="ctr"/>
            <a:r>
              <a:rPr lang="en-US" sz="2800" b="1" dirty="0"/>
              <a:t>non </a:t>
            </a:r>
            <a:r>
              <a:rPr lang="en-US" sz="2800" b="1" dirty="0" err="1"/>
              <a:t>vacciné</a:t>
            </a:r>
            <a:r>
              <a:rPr lang="en-US" sz="2800" b="1" dirty="0"/>
              <a:t> a </a:t>
            </a:r>
            <a:r>
              <a:rPr lang="en-US" sz="2800" b="1" dirty="0" err="1"/>
              <a:t>été</a:t>
            </a:r>
            <a:r>
              <a:rPr lang="en-US" sz="2800" b="1" dirty="0"/>
              <a:t> </a:t>
            </a:r>
            <a:r>
              <a:rPr lang="en-US" sz="2800" b="1" dirty="0" err="1"/>
              <a:t>paralysé</a:t>
            </a:r>
            <a:r>
              <a:rPr lang="en-US" sz="2800" b="1" dirty="0"/>
              <a:t> par la polio!</a:t>
            </a:r>
          </a:p>
          <a:p>
            <a:pPr algn="ctr"/>
            <a:endParaRPr lang="en-US" sz="2800" b="1" dirty="0"/>
          </a:p>
          <a:p>
            <a:pPr algn="ctr"/>
            <a:r>
              <a:rPr lang="en-US" sz="2400" b="1" dirty="0"/>
              <a:t>Le virus </a:t>
            </a:r>
            <a:r>
              <a:rPr lang="en-US" sz="2400" b="1" dirty="0" err="1"/>
              <a:t>avait</a:t>
            </a:r>
            <a:r>
              <a:rPr lang="en-US" sz="2400" b="1" dirty="0"/>
              <a:t> </a:t>
            </a:r>
            <a:r>
              <a:rPr lang="en-US" sz="2400" b="1" dirty="0" err="1"/>
              <a:t>été</a:t>
            </a:r>
            <a:r>
              <a:rPr lang="en-US" sz="2400" b="1" dirty="0"/>
              <a:t> </a:t>
            </a:r>
            <a:r>
              <a:rPr lang="en-US" sz="2400" b="1" dirty="0" err="1"/>
              <a:t>détecté</a:t>
            </a:r>
            <a:r>
              <a:rPr lang="en-US" sz="2400" b="1" dirty="0"/>
              <a:t> dans les </a:t>
            </a:r>
            <a:r>
              <a:rPr lang="en-US" sz="2400" b="1" dirty="0" err="1"/>
              <a:t>eaux</a:t>
            </a:r>
            <a:r>
              <a:rPr lang="en-US" sz="2400" b="1" dirty="0"/>
              <a:t> </a:t>
            </a:r>
            <a:r>
              <a:rPr lang="en-US" sz="2400" b="1" dirty="0" err="1"/>
              <a:t>usées</a:t>
            </a:r>
            <a:r>
              <a:rPr lang="en-US" sz="2400" b="1" dirty="0"/>
              <a:t> </a:t>
            </a:r>
          </a:p>
          <a:p>
            <a:pPr algn="ctr"/>
            <a:r>
              <a:rPr lang="en-US" sz="2400" b="1" dirty="0"/>
              <a:t>à </a:t>
            </a:r>
            <a:r>
              <a:rPr lang="en-US" sz="2400" b="1" dirty="0" err="1"/>
              <a:t>Londres</a:t>
            </a:r>
            <a:r>
              <a:rPr lang="en-US" sz="2400" b="1" dirty="0"/>
              <a:t> et à </a:t>
            </a:r>
            <a:r>
              <a:rPr lang="en-US" sz="2400" b="1" dirty="0" err="1"/>
              <a:t>Jérusalem</a:t>
            </a:r>
            <a:r>
              <a:rPr lang="en-US" sz="2400" b="1" dirty="0"/>
              <a:t>…</a:t>
            </a:r>
          </a:p>
          <a:p>
            <a:pPr algn="ctr"/>
            <a:endParaRPr lang="en-US" sz="2800" b="1" dirty="0"/>
          </a:p>
        </p:txBody>
      </p:sp>
      <p:pic>
        <p:nvPicPr>
          <p:cNvPr id="10" name="Image 9">
            <a:extLst>
              <a:ext uri="{FF2B5EF4-FFF2-40B4-BE49-F238E27FC236}">
                <a16:creationId xmlns:a16="http://schemas.microsoft.com/office/drawing/2014/main" id="{62F6BD66-B5BF-8F99-BDFE-14B01491C9E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52111" y="5355508"/>
            <a:ext cx="913062" cy="1160020"/>
          </a:xfrm>
          <a:prstGeom prst="rect">
            <a:avLst/>
          </a:prstGeom>
        </p:spPr>
      </p:pic>
      <p:pic>
        <p:nvPicPr>
          <p:cNvPr id="4" name="Image 3" descr="Une image contenant texte, clipart&#10;&#10;Description générée automatiquement">
            <a:extLst>
              <a:ext uri="{FF2B5EF4-FFF2-40B4-BE49-F238E27FC236}">
                <a16:creationId xmlns:a16="http://schemas.microsoft.com/office/drawing/2014/main" id="{6971047F-FFE5-F08F-76D2-3022B8E2AF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05742" y="-1674"/>
            <a:ext cx="2245262" cy="1031692"/>
          </a:xfrm>
          <a:prstGeom prst="rect">
            <a:avLst/>
          </a:prstGeom>
        </p:spPr>
      </p:pic>
    </p:spTree>
    <p:extLst>
      <p:ext uri="{BB962C8B-B14F-4D97-AF65-F5344CB8AC3E}">
        <p14:creationId xmlns:p14="http://schemas.microsoft.com/office/powerpoint/2010/main" val="3048108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48595D"/>
        </a:solidFill>
        <a:effectLst/>
      </p:bgPr>
    </p:bg>
    <p:spTree>
      <p:nvGrpSpPr>
        <p:cNvPr id="1" name=""/>
        <p:cNvGrpSpPr/>
        <p:nvPr/>
      </p:nvGrpSpPr>
      <p:grpSpPr>
        <a:xfrm>
          <a:off x="0" y="0"/>
          <a:ext cx="0" cy="0"/>
          <a:chOff x="0" y="0"/>
          <a:chExt cx="0" cy="0"/>
        </a:xfrm>
      </p:grpSpPr>
      <p:sp>
        <p:nvSpPr>
          <p:cNvPr id="16" name="TextBox 15"/>
          <p:cNvSpPr txBox="1"/>
          <p:nvPr/>
        </p:nvSpPr>
        <p:spPr>
          <a:xfrm>
            <a:off x="344503" y="205705"/>
            <a:ext cx="11502994" cy="677108"/>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lang="fr-CH" sz="4400" b="1" dirty="0">
                <a:solidFill>
                  <a:srgbClr val="F49B03"/>
                </a:solidFill>
                <a:cs typeface="Arial" pitchFamily="34" charset="0"/>
              </a:rPr>
              <a:t>Finir le travail coûte cher </a:t>
            </a:r>
          </a:p>
        </p:txBody>
      </p:sp>
      <p:sp>
        <p:nvSpPr>
          <p:cNvPr id="6" name="Rectangle 5">
            <a:extLst>
              <a:ext uri="{FF2B5EF4-FFF2-40B4-BE49-F238E27FC236}">
                <a16:creationId xmlns:a16="http://schemas.microsoft.com/office/drawing/2014/main" id="{19AAEB24-2067-F343-8436-7573135A034E}"/>
              </a:ext>
            </a:extLst>
          </p:cNvPr>
          <p:cNvSpPr/>
          <p:nvPr/>
        </p:nvSpPr>
        <p:spPr>
          <a:xfrm>
            <a:off x="0" y="1196788"/>
            <a:ext cx="12192000" cy="56612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Shape 107"/>
          <p:cNvSpPr/>
          <p:nvPr/>
        </p:nvSpPr>
        <p:spPr>
          <a:xfrm>
            <a:off x="8884693" y="4476481"/>
            <a:ext cx="2647666" cy="1629906"/>
          </a:xfrm>
          <a:prstGeom prst="rect">
            <a:avLst/>
          </a:prstGeom>
          <a:ln w="12700">
            <a:miter lim="400000"/>
          </a:ln>
          <a:extLst>
            <a:ext uri="{C572A759-6A51-4108-AA02-DFA0A04FC94B}">
              <ma14:wrappingTextBoxFlag xmlns:ma14="http://schemas.microsoft.com/office/mac/drawingml/2011/main" xmlns="" val="1"/>
            </a:ext>
          </a:extLst>
        </p:spPr>
        <p:txBody>
          <a:bodyPr lIns="71437" tIns="71437" rIns="71437" bIns="71437">
            <a:noAutofit/>
          </a:bodyPr>
          <a:lstStyle>
            <a:lvl1pPr algn="l">
              <a:defRPr sz="11200">
                <a:solidFill>
                  <a:srgbClr val="9B3788"/>
                </a:solidFill>
                <a:latin typeface="Arial"/>
                <a:ea typeface="Arial"/>
                <a:cs typeface="Arial"/>
                <a:sym typeface="Arial"/>
              </a:defRPr>
            </a:lvl1pPr>
          </a:lstStyle>
          <a:p>
            <a:pPr algn="ctr">
              <a:defRPr/>
            </a:pPr>
            <a:r>
              <a:rPr lang="fr-CH" sz="2000" b="1" dirty="0">
                <a:solidFill>
                  <a:srgbClr val="58585D"/>
                </a:solidFill>
                <a:latin typeface="Arial Black" charset="0"/>
              </a:rPr>
              <a:t>Maintenir une  surveillance épidémiologique de qualité dans plus de 70 pays </a:t>
            </a:r>
          </a:p>
        </p:txBody>
      </p:sp>
      <p:sp>
        <p:nvSpPr>
          <p:cNvPr id="4" name="Oval 3"/>
          <p:cNvSpPr/>
          <p:nvPr/>
        </p:nvSpPr>
        <p:spPr>
          <a:xfrm>
            <a:off x="8391395" y="1627308"/>
            <a:ext cx="3045292" cy="2870399"/>
          </a:xfrm>
          <a:prstGeom prst="ellipse">
            <a:avLst/>
          </a:prstGeom>
          <a:blipFill dpi="0" rotWithShape="1">
            <a:blip r:embed="rId3" cstate="email">
              <a:extLst>
                <a:ext uri="{28A0092B-C50C-407E-A947-70E740481C1C}">
                  <a14:useLocalDpi xmlns:a14="http://schemas.microsoft.com/office/drawing/2010/main"/>
                </a:ext>
              </a:extLst>
            </a:blip>
            <a:srcRect/>
            <a:stretch>
              <a:fillRect l="1000" t="1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9" name="Oval 8"/>
          <p:cNvSpPr/>
          <p:nvPr/>
        </p:nvSpPr>
        <p:spPr>
          <a:xfrm>
            <a:off x="4561868" y="1627308"/>
            <a:ext cx="3045292" cy="2870399"/>
          </a:xfrm>
          <a:prstGeom prst="ellipse">
            <a:avLst/>
          </a:prstGeom>
          <a:blipFill dpi="0" rotWithShape="1">
            <a:blip r:embed="rId4" cstate="email">
              <a:extLst>
                <a:ext uri="{28A0092B-C50C-407E-A947-70E740481C1C}">
                  <a14:useLocalDpi xmlns:a14="http://schemas.microsoft.com/office/drawing/2010/main"/>
                </a:ext>
              </a:extLst>
            </a:blip>
            <a:srcRect/>
            <a:stretch>
              <a:fillRect r="456" b="62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0" name="Oval 9"/>
          <p:cNvSpPr>
            <a:spLocks noChangeAspect="1"/>
          </p:cNvSpPr>
          <p:nvPr/>
        </p:nvSpPr>
        <p:spPr>
          <a:xfrm>
            <a:off x="860613" y="1627308"/>
            <a:ext cx="2926080" cy="2826483"/>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11" name="Shape 107"/>
          <p:cNvSpPr/>
          <p:nvPr/>
        </p:nvSpPr>
        <p:spPr>
          <a:xfrm>
            <a:off x="933666" y="4476481"/>
            <a:ext cx="2779973" cy="1580148"/>
          </a:xfrm>
          <a:prstGeom prst="rect">
            <a:avLst/>
          </a:prstGeom>
          <a:ln w="12700">
            <a:miter lim="400000"/>
          </a:ln>
          <a:extLst>
            <a:ext uri="{C572A759-6A51-4108-AA02-DFA0A04FC94B}">
              <ma14:wrappingTextBoxFlag xmlns:ma14="http://schemas.microsoft.com/office/mac/drawingml/2011/main" xmlns="" val="1"/>
            </a:ext>
          </a:extLst>
        </p:spPr>
        <p:txBody>
          <a:bodyPr lIns="71437" tIns="71437" rIns="71437" bIns="71437">
            <a:noAutofit/>
          </a:bodyPr>
          <a:lstStyle>
            <a:lvl1pPr algn="l">
              <a:defRPr sz="11200">
                <a:solidFill>
                  <a:srgbClr val="9B3788"/>
                </a:solidFill>
                <a:latin typeface="Arial"/>
                <a:ea typeface="Arial"/>
                <a:cs typeface="Arial"/>
                <a:sym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2000" b="1" i="0" u="none" strike="noStrike" kern="1200" cap="none" spc="0" normalizeH="0" baseline="0" dirty="0">
                <a:ln>
                  <a:noFill/>
                </a:ln>
                <a:solidFill>
                  <a:srgbClr val="58585D"/>
                </a:solidFill>
                <a:effectLst/>
                <a:uLnTx/>
                <a:uFillTx/>
                <a:latin typeface="Arial Black" charset="0"/>
                <a:ea typeface="Arial Black" charset="0"/>
                <a:cs typeface="Arial Black" charset="0"/>
                <a:sym typeface="Arial"/>
              </a:rPr>
              <a:t>Vacciner 450 millions d’enfants tous les ans dans 60 pays à risque </a:t>
            </a:r>
            <a:endParaRPr kumimoji="0" lang="fr-CH" sz="2000" b="0" i="0" u="none" strike="noStrike" kern="1200" cap="none" spc="0" normalizeH="0" baseline="0" dirty="0">
              <a:ln>
                <a:noFill/>
              </a:ln>
              <a:solidFill>
                <a:srgbClr val="58585D"/>
              </a:solidFill>
              <a:effectLst/>
              <a:uLnTx/>
              <a:uFillTx/>
              <a:latin typeface="Arial" charset="0"/>
              <a:ea typeface="Arial" charset="0"/>
              <a:cs typeface="Arial" charset="0"/>
              <a:sym typeface="Arial"/>
            </a:endParaRPr>
          </a:p>
        </p:txBody>
      </p:sp>
      <p:sp>
        <p:nvSpPr>
          <p:cNvPr id="12" name="Shape 107"/>
          <p:cNvSpPr/>
          <p:nvPr/>
        </p:nvSpPr>
        <p:spPr>
          <a:xfrm>
            <a:off x="5039403" y="4537546"/>
            <a:ext cx="2399094" cy="1575959"/>
          </a:xfrm>
          <a:prstGeom prst="rect">
            <a:avLst/>
          </a:prstGeom>
          <a:ln w="12700">
            <a:miter lim="400000"/>
          </a:ln>
          <a:extLst>
            <a:ext uri="{C572A759-6A51-4108-AA02-DFA0A04FC94B}">
              <ma14:wrappingTextBoxFlag xmlns:ma14="http://schemas.microsoft.com/office/mac/drawingml/2011/main" xmlns="" val="1"/>
            </a:ext>
          </a:extLst>
        </p:spPr>
        <p:txBody>
          <a:bodyPr lIns="71437" tIns="71437" rIns="71437" bIns="71437">
            <a:noAutofit/>
          </a:bodyPr>
          <a:lstStyle>
            <a:lvl1pPr algn="l">
              <a:defRPr sz="11200">
                <a:solidFill>
                  <a:srgbClr val="9B3788"/>
                </a:solidFill>
                <a:latin typeface="Arial"/>
                <a:ea typeface="Arial"/>
                <a:cs typeface="Arial"/>
                <a:sym typeface="Arial"/>
              </a:defRPr>
            </a:lvl1pPr>
          </a:lstStyle>
          <a:p>
            <a:pPr algn="ctr">
              <a:defRPr/>
            </a:pPr>
            <a:r>
              <a:rPr lang="fr-CH" sz="2000" b="1" dirty="0">
                <a:solidFill>
                  <a:srgbClr val="58585D"/>
                </a:solidFill>
                <a:latin typeface="Arial Black" charset="0"/>
              </a:rPr>
              <a:t>Financer des centaines de milliers de vaccinateurs</a:t>
            </a:r>
          </a:p>
        </p:txBody>
      </p:sp>
      <p:sp>
        <p:nvSpPr>
          <p:cNvPr id="2" name="Bulle narrative : ronde 1">
            <a:extLst>
              <a:ext uri="{FF2B5EF4-FFF2-40B4-BE49-F238E27FC236}">
                <a16:creationId xmlns:a16="http://schemas.microsoft.com/office/drawing/2014/main" id="{B8F2492E-8A99-DC5F-E590-753F56D60D67}"/>
              </a:ext>
            </a:extLst>
          </p:cNvPr>
          <p:cNvSpPr/>
          <p:nvPr/>
        </p:nvSpPr>
        <p:spPr>
          <a:xfrm>
            <a:off x="1924493" y="2604304"/>
            <a:ext cx="7451001" cy="3290650"/>
          </a:xfrm>
          <a:prstGeom prst="wedgeEllipseCallout">
            <a:avLst>
              <a:gd name="adj1" fmla="val 31858"/>
              <a:gd name="adj2" fmla="val -9862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Il manque encore 1,5 milliards $  pour le plan </a:t>
            </a:r>
            <a:r>
              <a:rPr lang="en-US" sz="3600" b="1" dirty="0" err="1"/>
              <a:t>stratégique</a:t>
            </a:r>
            <a:r>
              <a:rPr lang="en-US" sz="3600" b="1" dirty="0"/>
              <a:t> 2022 – 2026! </a:t>
            </a:r>
          </a:p>
        </p:txBody>
      </p:sp>
    </p:spTree>
    <p:extLst>
      <p:ext uri="{BB962C8B-B14F-4D97-AF65-F5344CB8AC3E}">
        <p14:creationId xmlns:p14="http://schemas.microsoft.com/office/powerpoint/2010/main" val="3524763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874069-2795-4D0F-8574-3C847202CC78}"/>
              </a:ext>
            </a:extLst>
          </p:cNvPr>
          <p:cNvSpPr>
            <a:spLocks noGrp="1"/>
          </p:cNvSpPr>
          <p:nvPr>
            <p:ph type="title"/>
          </p:nvPr>
        </p:nvSpPr>
        <p:spPr>
          <a:xfrm>
            <a:off x="-853478" y="307171"/>
            <a:ext cx="12362120" cy="756642"/>
          </a:xfrm>
        </p:spPr>
        <p:txBody>
          <a:bodyPr/>
          <a:lstStyle/>
          <a:p>
            <a:pPr defTabSz="914400"/>
            <a:r>
              <a:rPr lang="fr-FR" b="1" dirty="0">
                <a:solidFill>
                  <a:srgbClr val="FFC000"/>
                </a:solidFill>
                <a:latin typeface="+mn-lt"/>
                <a:ea typeface="+mn-ea"/>
                <a:cs typeface="+mn-cs"/>
              </a:rPr>
              <a:t>Un responsable polio dans votre club?</a:t>
            </a:r>
            <a:br>
              <a:rPr lang="fr-FR" b="1" dirty="0">
                <a:solidFill>
                  <a:srgbClr val="FFC000"/>
                </a:solidFill>
                <a:latin typeface="+mn-lt"/>
                <a:ea typeface="+mn-ea"/>
                <a:cs typeface="+mn-cs"/>
              </a:rPr>
            </a:br>
            <a:endParaRPr lang="fr-FR" b="1" dirty="0">
              <a:solidFill>
                <a:srgbClr val="FFC000"/>
              </a:solidFill>
              <a:latin typeface="+mn-lt"/>
              <a:ea typeface="+mn-ea"/>
              <a:cs typeface="+mn-cs"/>
            </a:endParaRPr>
          </a:p>
        </p:txBody>
      </p:sp>
      <p:sp>
        <p:nvSpPr>
          <p:cNvPr id="3" name="Espace réservé du contenu 2">
            <a:extLst>
              <a:ext uri="{FF2B5EF4-FFF2-40B4-BE49-F238E27FC236}">
                <a16:creationId xmlns:a16="http://schemas.microsoft.com/office/drawing/2014/main" id="{1ABC525D-22AC-46F4-AAD3-C0E9854E84A0}"/>
              </a:ext>
            </a:extLst>
          </p:cNvPr>
          <p:cNvSpPr>
            <a:spLocks noGrp="1"/>
          </p:cNvSpPr>
          <p:nvPr>
            <p:ph idx="1"/>
          </p:nvPr>
        </p:nvSpPr>
        <p:spPr>
          <a:xfrm>
            <a:off x="358815" y="1292576"/>
            <a:ext cx="11606357" cy="5108223"/>
          </a:xfrm>
        </p:spPr>
        <p:txBody>
          <a:bodyPr/>
          <a:lstStyle/>
          <a:p>
            <a:pPr>
              <a:spcBef>
                <a:spcPts val="600"/>
              </a:spcBef>
              <a:spcAft>
                <a:spcPts val="0"/>
              </a:spcAft>
            </a:pPr>
            <a:r>
              <a:rPr lang="fr-FR" b="1" dirty="0"/>
              <a:t>Informer </a:t>
            </a:r>
            <a:r>
              <a:rPr lang="fr-FR" dirty="0"/>
              <a:t>le Gouverneur et l’équipe du District </a:t>
            </a:r>
          </a:p>
          <a:p>
            <a:pPr>
              <a:spcBef>
                <a:spcPts val="600"/>
              </a:spcBef>
              <a:spcAft>
                <a:spcPts val="0"/>
              </a:spcAft>
            </a:pPr>
            <a:r>
              <a:rPr lang="fr-FR" b="1" dirty="0"/>
              <a:t>Informer</a:t>
            </a:r>
            <a:r>
              <a:rPr lang="fr-FR" dirty="0"/>
              <a:t> les présidents des clubs et leurs membres </a:t>
            </a:r>
          </a:p>
          <a:p>
            <a:pPr>
              <a:spcBef>
                <a:spcPts val="600"/>
              </a:spcBef>
              <a:spcAft>
                <a:spcPts val="0"/>
              </a:spcAft>
            </a:pPr>
            <a:r>
              <a:rPr lang="fr-FR" b="1" dirty="0"/>
              <a:t>Encourager</a:t>
            </a:r>
            <a:r>
              <a:rPr lang="fr-FR" dirty="0"/>
              <a:t> les actions de levée de fond (Public, Rotariens, District) </a:t>
            </a:r>
          </a:p>
          <a:p>
            <a:pPr>
              <a:spcBef>
                <a:spcPts val="600"/>
              </a:spcBef>
              <a:spcAft>
                <a:spcPts val="0"/>
              </a:spcAft>
            </a:pPr>
            <a:r>
              <a:rPr lang="fr-FR" b="1" dirty="0"/>
              <a:t>Faire passer le message :</a:t>
            </a:r>
          </a:p>
          <a:p>
            <a:pPr marL="0" indent="0">
              <a:spcBef>
                <a:spcPts val="600"/>
              </a:spcBef>
              <a:spcAft>
                <a:spcPts val="0"/>
              </a:spcAft>
              <a:buNone/>
            </a:pPr>
            <a:endParaRPr lang="fr-FR" b="1" dirty="0"/>
          </a:p>
          <a:p>
            <a:pPr marL="2914650" lvl="5" indent="-742950">
              <a:spcBef>
                <a:spcPts val="600"/>
              </a:spcBef>
              <a:spcAft>
                <a:spcPts val="600"/>
              </a:spcAft>
              <a:buFont typeface="+mj-lt"/>
              <a:buAutoNum type="arabicPeriod"/>
            </a:pPr>
            <a:r>
              <a:rPr lang="fr-FR" sz="3600" b="1" dirty="0"/>
              <a:t>Être fier du travail accompli </a:t>
            </a:r>
          </a:p>
          <a:p>
            <a:pPr marL="2914650" lvl="5" indent="-742950">
              <a:spcBef>
                <a:spcPts val="600"/>
              </a:spcBef>
              <a:spcAft>
                <a:spcPts val="600"/>
              </a:spcAft>
              <a:buFont typeface="+mj-lt"/>
              <a:buAutoNum type="arabicPeriod"/>
            </a:pPr>
            <a:r>
              <a:rPr lang="fr-FR" sz="3600" b="1" dirty="0"/>
              <a:t>Ne pas abandonner si près du but </a:t>
            </a:r>
          </a:p>
          <a:p>
            <a:pPr marL="2914650" lvl="5" indent="-742950">
              <a:spcBef>
                <a:spcPts val="600"/>
              </a:spcBef>
              <a:spcAft>
                <a:spcPts val="600"/>
              </a:spcAft>
              <a:buFont typeface="+mj-lt"/>
              <a:buAutoNum type="arabicPeriod"/>
            </a:pPr>
            <a:r>
              <a:rPr lang="fr-FR" sz="3600" b="1" dirty="0"/>
              <a:t>Lever des fonds </a:t>
            </a:r>
          </a:p>
          <a:p>
            <a:pPr>
              <a:spcBef>
                <a:spcPts val="600"/>
              </a:spcBef>
              <a:spcAft>
                <a:spcPts val="600"/>
              </a:spcAft>
            </a:pPr>
            <a:endParaRPr lang="fr-FR" sz="3600" dirty="0"/>
          </a:p>
        </p:txBody>
      </p:sp>
      <p:sp>
        <p:nvSpPr>
          <p:cNvPr id="6" name="Espace réservé du numéro de diapositive 3">
            <a:extLst>
              <a:ext uri="{FF2B5EF4-FFF2-40B4-BE49-F238E27FC236}">
                <a16:creationId xmlns:a16="http://schemas.microsoft.com/office/drawing/2014/main" id="{322F9313-9462-43C3-9CEC-80F3BEF958D8}"/>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15</a:t>
            </a:fld>
            <a:endParaRPr lang="en-GB"/>
          </a:p>
        </p:txBody>
      </p:sp>
      <p:pic>
        <p:nvPicPr>
          <p:cNvPr id="4" name="Image 3" descr="Une image contenant texte, clipart&#10;&#10;Description générée automatiquement">
            <a:extLst>
              <a:ext uri="{FF2B5EF4-FFF2-40B4-BE49-F238E27FC236}">
                <a16:creationId xmlns:a16="http://schemas.microsoft.com/office/drawing/2014/main" id="{03F8E6D8-6817-8C9D-1995-96B69AC01EF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95847" y="36572"/>
            <a:ext cx="2110733" cy="969876"/>
          </a:xfrm>
          <a:prstGeom prst="rect">
            <a:avLst/>
          </a:prstGeom>
        </p:spPr>
      </p:pic>
      <p:pic>
        <p:nvPicPr>
          <p:cNvPr id="7" name="Image 6">
            <a:extLst>
              <a:ext uri="{FF2B5EF4-FFF2-40B4-BE49-F238E27FC236}">
                <a16:creationId xmlns:a16="http://schemas.microsoft.com/office/drawing/2014/main" id="{6B1C131E-F3C0-46BD-4DB9-478CB20863D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52111" y="5355508"/>
            <a:ext cx="913062" cy="1160020"/>
          </a:xfrm>
          <a:prstGeom prst="rect">
            <a:avLst/>
          </a:prstGeom>
        </p:spPr>
      </p:pic>
    </p:spTree>
    <p:extLst>
      <p:ext uri="{BB962C8B-B14F-4D97-AF65-F5344CB8AC3E}">
        <p14:creationId xmlns:p14="http://schemas.microsoft.com/office/powerpoint/2010/main" val="2494355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hlinkClick r:id="rId2"/>
            <a:extLst>
              <a:ext uri="{FF2B5EF4-FFF2-40B4-BE49-F238E27FC236}">
                <a16:creationId xmlns:a16="http://schemas.microsoft.com/office/drawing/2014/main" id="{AEAD906C-0118-4127-BCB8-A10AAEA49EFC}"/>
              </a:ext>
            </a:extLst>
          </p:cNvPr>
          <p:cNvPicPr>
            <a:picLocks noChangeAspect="1"/>
          </p:cNvPicPr>
          <p:nvPr/>
        </p:nvPicPr>
        <p:blipFill>
          <a:blip r:embed="rId3"/>
          <a:stretch>
            <a:fillRect/>
          </a:stretch>
        </p:blipFill>
        <p:spPr>
          <a:xfrm>
            <a:off x="842834" y="274638"/>
            <a:ext cx="10303133" cy="1501270"/>
          </a:xfrm>
          <a:prstGeom prst="rect">
            <a:avLst/>
          </a:prstGeom>
        </p:spPr>
      </p:pic>
      <p:pic>
        <p:nvPicPr>
          <p:cNvPr id="8" name="Espace réservé du contenu 7">
            <a:extLst>
              <a:ext uri="{FF2B5EF4-FFF2-40B4-BE49-F238E27FC236}">
                <a16:creationId xmlns:a16="http://schemas.microsoft.com/office/drawing/2014/main" id="{707A2E49-A9A3-447B-B31C-0D382BE04BB8}"/>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7914923" y="2537860"/>
            <a:ext cx="2857500" cy="2857500"/>
          </a:xfrm>
        </p:spPr>
      </p:pic>
      <p:sp>
        <p:nvSpPr>
          <p:cNvPr id="4" name="Espace réservé du contenu 3">
            <a:extLst>
              <a:ext uri="{FF2B5EF4-FFF2-40B4-BE49-F238E27FC236}">
                <a16:creationId xmlns:a16="http://schemas.microsoft.com/office/drawing/2014/main" id="{E9008FC1-849C-4885-B125-212D55B3058A}"/>
              </a:ext>
            </a:extLst>
          </p:cNvPr>
          <p:cNvSpPr>
            <a:spLocks noGrp="1"/>
          </p:cNvSpPr>
          <p:nvPr>
            <p:ph type="body" sz="half" idx="2"/>
          </p:nvPr>
        </p:nvSpPr>
        <p:spPr>
          <a:xfrm>
            <a:off x="852556" y="1851507"/>
            <a:ext cx="6923819" cy="4504844"/>
          </a:xfrm>
        </p:spPr>
        <p:txBody>
          <a:bodyPr/>
          <a:lstStyle/>
          <a:p>
            <a:r>
              <a:rPr lang="fr-FR" sz="1200" b="1" dirty="0"/>
              <a:t>Mode d'emploi</a:t>
            </a:r>
          </a:p>
          <a:p>
            <a:r>
              <a:rPr lang="fr-FR" sz="1200" dirty="0"/>
              <a:t>D'abord, précisons que seules les cartouches </a:t>
            </a:r>
            <a:r>
              <a:rPr lang="fr-FR" sz="1200" b="1" dirty="0"/>
              <a:t>"Jet d'encre" </a:t>
            </a:r>
            <a:r>
              <a:rPr lang="fr-FR" sz="1200" dirty="0"/>
              <a:t>en forme de petits cubes sont récupérées</a:t>
            </a:r>
          </a:p>
          <a:p>
            <a:endParaRPr lang="fr-FR" sz="1200" dirty="0"/>
          </a:p>
          <a:p>
            <a:endParaRPr lang="fr-FR" sz="1200" dirty="0"/>
          </a:p>
          <a:p>
            <a:endParaRPr lang="fr-FR" sz="1200" dirty="0"/>
          </a:p>
          <a:p>
            <a:r>
              <a:rPr lang="fr-FR" sz="1200" dirty="0"/>
              <a:t>Donc pas de toner ni de cartouches plus grosses, type professionnel par exemple. </a:t>
            </a:r>
          </a:p>
          <a:p>
            <a:r>
              <a:rPr lang="fr-FR" sz="1200" dirty="0"/>
              <a:t>Le potentiel est quand même énorme !!</a:t>
            </a:r>
          </a:p>
          <a:p>
            <a:endParaRPr lang="fr-FR" sz="1200" dirty="0"/>
          </a:p>
          <a:p>
            <a:r>
              <a:rPr lang="fr-FR" sz="1200" dirty="0"/>
              <a:t>- Déposez une boite de collecte dans un endroit fréquenté, par exemple dans une surface commerciale.</a:t>
            </a:r>
          </a:p>
          <a:p>
            <a:r>
              <a:rPr lang="fr-FR" sz="1200" dirty="0"/>
              <a:t>- Videz-la régulièrement et rassemblez les cartouches dans un autre carton (de réemploi de préférence, par exemple une boite à chaussures) pour les expédier au centre de recyclage</a:t>
            </a:r>
          </a:p>
          <a:p>
            <a:r>
              <a:rPr lang="fr-FR" sz="1200" dirty="0"/>
              <a:t>- Veillez à ranger les cartouches dans le carton. Des cartouches entassées en vrac occasionnent des cartouches abîmées par le brassage lors du transport</a:t>
            </a:r>
          </a:p>
          <a:p>
            <a:r>
              <a:rPr lang="fr-FR" sz="1200" dirty="0"/>
              <a:t>- Calculez le gain pour le rachat de vos cartouches en allant sur le site de l'opération, </a:t>
            </a:r>
          </a:p>
          <a:p>
            <a:r>
              <a:rPr lang="fr-FR" sz="1200" dirty="0"/>
              <a:t>- Imprimez le bon d'envoi sur ce site, que vous compléterez  et collerez le sur le colis</a:t>
            </a:r>
          </a:p>
          <a:p>
            <a:r>
              <a:rPr lang="fr-FR" sz="1200" dirty="0"/>
              <a:t>- Envoyez le carton aux frais du destinataire en le déposant dans un bureau de </a:t>
            </a:r>
            <a:r>
              <a:rPr lang="fr-FR" sz="1200" dirty="0" err="1"/>
              <a:t>Bpost</a:t>
            </a:r>
            <a:endParaRPr lang="fr-FR" sz="1200" dirty="0"/>
          </a:p>
          <a:p>
            <a:r>
              <a:rPr lang="fr-FR" sz="1200" dirty="0"/>
              <a:t>- Le produit du rachat de vos cartouches sera versé au nom de votre club au Fonds Polio de la Fondation Rotary. Il apparaitra à votre crédit environ un mois après. </a:t>
            </a:r>
          </a:p>
          <a:p>
            <a:r>
              <a:rPr lang="fr-FR" sz="1200" dirty="0"/>
              <a:t>Votre crédit de PHF en sera augmenté aussi (1$ = 1pt)</a:t>
            </a:r>
            <a:endParaRPr lang="fr-CH" sz="1200" dirty="0"/>
          </a:p>
        </p:txBody>
      </p:sp>
      <p:sp>
        <p:nvSpPr>
          <p:cNvPr id="5" name="Espace réservé de la date 4">
            <a:extLst>
              <a:ext uri="{FF2B5EF4-FFF2-40B4-BE49-F238E27FC236}">
                <a16:creationId xmlns:a16="http://schemas.microsoft.com/office/drawing/2014/main" id="{AD2DCF2A-6AFA-41B2-B3A8-8FB207373AC2}"/>
              </a:ext>
            </a:extLst>
          </p:cNvPr>
          <p:cNvSpPr>
            <a:spLocks noGrp="1"/>
          </p:cNvSpPr>
          <p:nvPr>
            <p:ph type="dt" sz="half" idx="10"/>
          </p:nvPr>
        </p:nvSpPr>
        <p:spPr/>
        <p:txBody>
          <a:bodyPr/>
          <a:lstStyle/>
          <a:p>
            <a:pPr>
              <a:defRPr/>
            </a:pPr>
            <a:r>
              <a:rPr lang="fr-FR" altLang="fr-FR" dirty="0"/>
              <a:t>www.endpolionow.org</a:t>
            </a:r>
            <a:endParaRPr lang="en-US" altLang="fr-FR" dirty="0"/>
          </a:p>
        </p:txBody>
      </p:sp>
      <p:pic>
        <p:nvPicPr>
          <p:cNvPr id="18" name="Image 17">
            <a:extLst>
              <a:ext uri="{FF2B5EF4-FFF2-40B4-BE49-F238E27FC236}">
                <a16:creationId xmlns:a16="http://schemas.microsoft.com/office/drawing/2014/main" id="{095FB193-DD73-4D3A-9C53-8353F3E33A0D}"/>
              </a:ext>
            </a:extLst>
          </p:cNvPr>
          <p:cNvPicPr>
            <a:picLocks noChangeAspect="1"/>
          </p:cNvPicPr>
          <p:nvPr/>
        </p:nvPicPr>
        <p:blipFill>
          <a:blip r:embed="rId5"/>
          <a:stretch>
            <a:fillRect/>
          </a:stretch>
        </p:blipFill>
        <p:spPr>
          <a:xfrm>
            <a:off x="971826" y="2293356"/>
            <a:ext cx="650241" cy="639475"/>
          </a:xfrm>
          <a:prstGeom prst="rect">
            <a:avLst/>
          </a:prstGeom>
        </p:spPr>
      </p:pic>
      <p:pic>
        <p:nvPicPr>
          <p:cNvPr id="2" name="Espace réservé du contenu 7">
            <a:extLst>
              <a:ext uri="{FF2B5EF4-FFF2-40B4-BE49-F238E27FC236}">
                <a16:creationId xmlns:a16="http://schemas.microsoft.com/office/drawing/2014/main" id="{183D2BA0-C47D-CB2C-5631-848BF5BE16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3471" y="3429000"/>
            <a:ext cx="2857500" cy="2857500"/>
          </a:xfrm>
        </p:spPr>
      </p:pic>
      <p:pic>
        <p:nvPicPr>
          <p:cNvPr id="7" name="Espace réservé du contenu 7">
            <a:extLst>
              <a:ext uri="{FF2B5EF4-FFF2-40B4-BE49-F238E27FC236}">
                <a16:creationId xmlns:a16="http://schemas.microsoft.com/office/drawing/2014/main" id="{3C2E7755-7E57-A1E4-EE63-AF54C5084B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8330567" y="2765120"/>
            <a:ext cx="28575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7022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C17719-2A8E-48C7-ABAF-B02224670F9D}"/>
              </a:ext>
            </a:extLst>
          </p:cNvPr>
          <p:cNvSpPr>
            <a:spLocks noGrp="1"/>
          </p:cNvSpPr>
          <p:nvPr>
            <p:ph type="title"/>
          </p:nvPr>
        </p:nvSpPr>
        <p:spPr>
          <a:xfrm>
            <a:off x="609600" y="274638"/>
            <a:ext cx="10972800" cy="1325564"/>
          </a:xfrm>
        </p:spPr>
        <p:txBody>
          <a:bodyPr/>
          <a:lstStyle/>
          <a:p>
            <a:r>
              <a:rPr lang="en-US" sz="4000" dirty="0">
                <a:hlinkClick r:id="rId2"/>
              </a:rPr>
              <a:t>www.cerclepolioplus.org</a:t>
            </a:r>
            <a:br>
              <a:rPr lang="en-US" dirty="0"/>
            </a:br>
            <a:endParaRPr lang="fr-CH" dirty="0"/>
          </a:p>
        </p:txBody>
      </p:sp>
      <p:pic>
        <p:nvPicPr>
          <p:cNvPr id="8" name="Espace réservé du contenu 7">
            <a:extLst>
              <a:ext uri="{FF2B5EF4-FFF2-40B4-BE49-F238E27FC236}">
                <a16:creationId xmlns:a16="http://schemas.microsoft.com/office/drawing/2014/main" id="{36696B73-7997-4065-B631-A86EB219D09A}"/>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1873250" y="2434431"/>
            <a:ext cx="2857500" cy="2857500"/>
          </a:xfrm>
        </p:spPr>
      </p:pic>
      <p:sp>
        <p:nvSpPr>
          <p:cNvPr id="4" name="Espace réservé du contenu 3">
            <a:extLst>
              <a:ext uri="{FF2B5EF4-FFF2-40B4-BE49-F238E27FC236}">
                <a16:creationId xmlns:a16="http://schemas.microsoft.com/office/drawing/2014/main" id="{2FD5F7BE-7919-4C44-832B-4D1A8AC6E39A}"/>
              </a:ext>
            </a:extLst>
          </p:cNvPr>
          <p:cNvSpPr>
            <a:spLocks noGrp="1"/>
          </p:cNvSpPr>
          <p:nvPr>
            <p:ph sz="half" idx="2"/>
          </p:nvPr>
        </p:nvSpPr>
        <p:spPr>
          <a:xfrm>
            <a:off x="6197600" y="1600202"/>
            <a:ext cx="5384800" cy="4681328"/>
          </a:xfrm>
        </p:spPr>
        <p:txBody>
          <a:bodyPr/>
          <a:lstStyle/>
          <a:p>
            <a:r>
              <a:rPr lang="fr-FR" dirty="0"/>
              <a:t>Ce cercle est conçu pour encourager les Rotariens à s’engager à contribuer </a:t>
            </a:r>
            <a:r>
              <a:rPr lang="fr-FR" b="1" dirty="0"/>
              <a:t>un montant annuel minimum de 100 Euros</a:t>
            </a:r>
            <a:r>
              <a:rPr lang="fr-FR" dirty="0"/>
              <a:t> au Fonds </a:t>
            </a:r>
            <a:r>
              <a:rPr lang="fr-FR" dirty="0" err="1"/>
              <a:t>PolioPlus</a:t>
            </a:r>
            <a:r>
              <a:rPr lang="fr-FR" dirty="0"/>
              <a:t> jusqu’à l’éradication mondiale totale et définitive de la polio.</a:t>
            </a:r>
          </a:p>
          <a:p>
            <a:r>
              <a:rPr lang="fr-FR" dirty="0"/>
              <a:t>Pour plus de flexibilité, vous pouvez aussi opter pour un </a:t>
            </a:r>
            <a:r>
              <a:rPr lang="fr-FR" b="1" dirty="0"/>
              <a:t>don mensuel de 9€</a:t>
            </a:r>
          </a:p>
          <a:p>
            <a:r>
              <a:rPr lang="fr-FR" b="1" dirty="0"/>
              <a:t>Fiscalement déductible (Be-Lu)</a:t>
            </a:r>
          </a:p>
          <a:p>
            <a:pPr marL="0" indent="0">
              <a:buNone/>
            </a:pPr>
            <a:endParaRPr lang="fr-FR" b="1" dirty="0"/>
          </a:p>
          <a:p>
            <a:endParaRPr lang="fr-FR" b="1" dirty="0"/>
          </a:p>
          <a:p>
            <a:endParaRPr lang="fr-CH" dirty="0"/>
          </a:p>
        </p:txBody>
      </p:sp>
      <p:sp>
        <p:nvSpPr>
          <p:cNvPr id="5" name="Espace réservé de la date 4">
            <a:extLst>
              <a:ext uri="{FF2B5EF4-FFF2-40B4-BE49-F238E27FC236}">
                <a16:creationId xmlns:a16="http://schemas.microsoft.com/office/drawing/2014/main" id="{D68BB661-D19E-40CA-B478-5E4870A1DFFD}"/>
              </a:ext>
            </a:extLst>
          </p:cNvPr>
          <p:cNvSpPr>
            <a:spLocks noGrp="1"/>
          </p:cNvSpPr>
          <p:nvPr>
            <p:ph type="dt" sz="half" idx="10"/>
          </p:nvPr>
        </p:nvSpPr>
        <p:spPr/>
        <p:txBody>
          <a:bodyPr/>
          <a:lstStyle/>
          <a:p>
            <a:pPr>
              <a:defRPr/>
            </a:pPr>
            <a:r>
              <a:rPr lang="fr-FR" altLang="fr-FR"/>
              <a:t>www.endpolionow.org</a:t>
            </a:r>
            <a:endParaRPr lang="en-US" altLang="fr-FR"/>
          </a:p>
        </p:txBody>
      </p:sp>
      <p:sp>
        <p:nvSpPr>
          <p:cNvPr id="6" name="Espace réservé du pied de page 5">
            <a:extLst>
              <a:ext uri="{FF2B5EF4-FFF2-40B4-BE49-F238E27FC236}">
                <a16:creationId xmlns:a16="http://schemas.microsoft.com/office/drawing/2014/main" id="{52DA7B78-12A1-4B66-A077-DF387048E198}"/>
              </a:ext>
            </a:extLst>
          </p:cNvPr>
          <p:cNvSpPr>
            <a:spLocks noGrp="1"/>
          </p:cNvSpPr>
          <p:nvPr>
            <p:ph type="ftr" sz="quarter" idx="11"/>
          </p:nvPr>
        </p:nvSpPr>
        <p:spPr>
          <a:xfrm>
            <a:off x="3302000" y="6390560"/>
            <a:ext cx="5175045" cy="365125"/>
          </a:xfrm>
        </p:spPr>
        <p:txBody>
          <a:bodyPr/>
          <a:lstStyle/>
          <a:p>
            <a:pPr>
              <a:defRPr/>
            </a:pPr>
            <a:endParaRPr lang="en-US" dirty="0"/>
          </a:p>
          <a:p>
            <a:pPr>
              <a:defRPr/>
            </a:pPr>
            <a:endParaRPr lang="en-US" dirty="0"/>
          </a:p>
        </p:txBody>
      </p:sp>
      <p:pic>
        <p:nvPicPr>
          <p:cNvPr id="9" name="Image 8">
            <a:extLst>
              <a:ext uri="{FF2B5EF4-FFF2-40B4-BE49-F238E27FC236}">
                <a16:creationId xmlns:a16="http://schemas.microsoft.com/office/drawing/2014/main" id="{6777517A-1F35-418D-AF27-83F814A9C1D6}"/>
              </a:ext>
            </a:extLst>
          </p:cNvPr>
          <p:cNvPicPr>
            <a:picLocks noChangeAspect="1"/>
          </p:cNvPicPr>
          <p:nvPr/>
        </p:nvPicPr>
        <p:blipFill>
          <a:blip r:embed="rId4"/>
          <a:stretch>
            <a:fillRect/>
          </a:stretch>
        </p:blipFill>
        <p:spPr>
          <a:xfrm>
            <a:off x="7866508" y="4113391"/>
            <a:ext cx="2046983" cy="2046983"/>
          </a:xfrm>
          <a:prstGeom prst="rect">
            <a:avLst/>
          </a:prstGeom>
        </p:spPr>
      </p:pic>
      <p:pic>
        <p:nvPicPr>
          <p:cNvPr id="7" name="Image 6">
            <a:extLst>
              <a:ext uri="{FF2B5EF4-FFF2-40B4-BE49-F238E27FC236}">
                <a16:creationId xmlns:a16="http://schemas.microsoft.com/office/drawing/2014/main" id="{CCDBD5EA-A802-11DC-3ED0-C95E3782CA65}"/>
              </a:ext>
            </a:extLst>
          </p:cNvPr>
          <p:cNvPicPr>
            <a:picLocks noChangeAspect="1"/>
          </p:cNvPicPr>
          <p:nvPr/>
        </p:nvPicPr>
        <p:blipFill>
          <a:blip r:embed="rId5"/>
          <a:stretch>
            <a:fillRect/>
          </a:stretch>
        </p:blipFill>
        <p:spPr>
          <a:xfrm>
            <a:off x="1547383" y="1823999"/>
            <a:ext cx="2859272" cy="2859272"/>
          </a:xfrm>
          <a:prstGeom prst="rect">
            <a:avLst/>
          </a:prstGeom>
        </p:spPr>
      </p:pic>
    </p:spTree>
    <p:extLst>
      <p:ext uri="{BB962C8B-B14F-4D97-AF65-F5344CB8AC3E}">
        <p14:creationId xmlns:p14="http://schemas.microsoft.com/office/powerpoint/2010/main" val="2802708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C083EF08-E135-4F08-A1AD-309504945450}"/>
              </a:ext>
            </a:extLst>
          </p:cNvPr>
          <p:cNvSpPr>
            <a:spLocks noGrp="1"/>
          </p:cNvSpPr>
          <p:nvPr>
            <p:ph type="title"/>
          </p:nvPr>
        </p:nvSpPr>
        <p:spPr>
          <a:xfrm>
            <a:off x="-255814" y="247919"/>
            <a:ext cx="11468100" cy="766762"/>
          </a:xfrm>
        </p:spPr>
        <p:txBody>
          <a:bodyPr/>
          <a:lstStyle/>
          <a:p>
            <a:r>
              <a:rPr lang="fr-FR" sz="4000" b="1" dirty="0">
                <a:solidFill>
                  <a:srgbClr val="F49B03"/>
                </a:solidFill>
                <a:latin typeface="Calibri"/>
                <a:ea typeface="+mn-ea"/>
                <a:cs typeface="Arial" pitchFamily="34" charset="0"/>
              </a:rPr>
              <a:t>ACTIONS</a:t>
            </a:r>
            <a:endParaRPr lang="fr-FR" sz="4000" dirty="0"/>
          </a:p>
        </p:txBody>
      </p:sp>
      <p:sp>
        <p:nvSpPr>
          <p:cNvPr id="4" name="Espace réservé du contenu 3">
            <a:extLst>
              <a:ext uri="{FF2B5EF4-FFF2-40B4-BE49-F238E27FC236}">
                <a16:creationId xmlns:a16="http://schemas.microsoft.com/office/drawing/2014/main" id="{B459E2D3-F726-445E-9527-9CA925D7F100}"/>
              </a:ext>
            </a:extLst>
          </p:cNvPr>
          <p:cNvSpPr>
            <a:spLocks noGrp="1"/>
          </p:cNvSpPr>
          <p:nvPr>
            <p:ph idx="1"/>
          </p:nvPr>
        </p:nvSpPr>
        <p:spPr>
          <a:xfrm>
            <a:off x="671623" y="1661655"/>
            <a:ext cx="10848754" cy="4495800"/>
          </a:xfrm>
        </p:spPr>
        <p:txBody>
          <a:bodyPr/>
          <a:lstStyle/>
          <a:p>
            <a:pPr>
              <a:spcBef>
                <a:spcPts val="400"/>
              </a:spcBef>
            </a:pPr>
            <a:r>
              <a:rPr lang="fr-FR" dirty="0">
                <a:solidFill>
                  <a:srgbClr val="494949"/>
                </a:solidFill>
                <a:latin typeface="Calibri" panose="020F0502020204030204" pitchFamily="34" charset="0"/>
              </a:rPr>
              <a:t>Cercle POLIOPLUS – (min)100€/an jusque éradication 3 ans?</a:t>
            </a:r>
          </a:p>
          <a:p>
            <a:pPr>
              <a:spcBef>
                <a:spcPts val="400"/>
              </a:spcBef>
            </a:pPr>
            <a:r>
              <a:rPr lang="fr-FR" dirty="0">
                <a:solidFill>
                  <a:srgbClr val="494949"/>
                </a:solidFill>
                <a:latin typeface="Calibri" panose="020F0502020204030204" pitchFamily="34" charset="0"/>
              </a:rPr>
              <a:t>Cartouche vide continue</a:t>
            </a:r>
          </a:p>
          <a:p>
            <a:pPr>
              <a:spcBef>
                <a:spcPts val="400"/>
              </a:spcBef>
            </a:pPr>
            <a:r>
              <a:rPr lang="fr-FR" dirty="0">
                <a:solidFill>
                  <a:srgbClr val="494949"/>
                </a:solidFill>
                <a:latin typeface="Calibri" panose="020F0502020204030204" pitchFamily="34" charset="0"/>
              </a:rPr>
              <a:t>Une activité</a:t>
            </a:r>
          </a:p>
          <a:p>
            <a:pPr>
              <a:spcBef>
                <a:spcPts val="400"/>
              </a:spcBef>
            </a:pPr>
            <a:r>
              <a:rPr lang="fr-FR" dirty="0">
                <a:solidFill>
                  <a:srgbClr val="494949"/>
                </a:solidFill>
                <a:latin typeface="Calibri" panose="020F0502020204030204" pitchFamily="34" charset="0"/>
              </a:rPr>
              <a:t>Un apéritif à la place du repas</a:t>
            </a:r>
          </a:p>
          <a:p>
            <a:pPr>
              <a:spcBef>
                <a:spcPts val="400"/>
              </a:spcBef>
            </a:pPr>
            <a:r>
              <a:rPr lang="fr-FR" dirty="0">
                <a:solidFill>
                  <a:srgbClr val="494949"/>
                </a:solidFill>
                <a:latin typeface="Calibri" panose="020F0502020204030204" pitchFamily="34" charset="0"/>
              </a:rPr>
              <a:t>Un don du club</a:t>
            </a:r>
          </a:p>
          <a:p>
            <a:pPr>
              <a:spcBef>
                <a:spcPts val="400"/>
              </a:spcBef>
            </a:pPr>
            <a:endParaRPr lang="fr-FR" dirty="0">
              <a:solidFill>
                <a:srgbClr val="494949"/>
              </a:solidFill>
              <a:latin typeface="Calibri" panose="020F0502020204030204" pitchFamily="34" charset="0"/>
            </a:endParaRPr>
          </a:p>
          <a:p>
            <a:pPr>
              <a:spcBef>
                <a:spcPts val="400"/>
              </a:spcBef>
            </a:pPr>
            <a:endParaRPr lang="fr-FR" dirty="0">
              <a:solidFill>
                <a:srgbClr val="494949"/>
              </a:solidFill>
              <a:latin typeface="Calibri" panose="020F0502020204030204" pitchFamily="34" charset="0"/>
            </a:endParaRPr>
          </a:p>
        </p:txBody>
      </p:sp>
      <p:sp>
        <p:nvSpPr>
          <p:cNvPr id="2" name="Espace réservé du numéro de diapositive 1">
            <a:extLst>
              <a:ext uri="{FF2B5EF4-FFF2-40B4-BE49-F238E27FC236}">
                <a16:creationId xmlns:a16="http://schemas.microsoft.com/office/drawing/2014/main" id="{739E4F37-5FA6-4E63-B56C-4FD44EB3BB8E}"/>
              </a:ext>
            </a:extLst>
          </p:cNvPr>
          <p:cNvSpPr>
            <a:spLocks noGrp="1"/>
          </p:cNvSpPr>
          <p:nvPr>
            <p:ph type="sldNum" sz="quarter" idx="12"/>
          </p:nvPr>
        </p:nvSpPr>
        <p:spPr/>
        <p:txBody>
          <a:bodyPr/>
          <a:lstStyle/>
          <a:p>
            <a:pPr>
              <a:defRPr/>
            </a:pPr>
            <a:fld id="{9D80A85F-EE2E-4277-B276-33FB34979C62}" type="slidenum">
              <a:rPr lang="en-US" smtClean="0"/>
              <a:pPr>
                <a:defRPr/>
              </a:pPr>
              <a:t>18</a:t>
            </a:fld>
            <a:endParaRPr lang="en-US" dirty="0"/>
          </a:p>
        </p:txBody>
      </p:sp>
      <p:pic>
        <p:nvPicPr>
          <p:cNvPr id="3" name="Image 2">
            <a:extLst>
              <a:ext uri="{FF2B5EF4-FFF2-40B4-BE49-F238E27FC236}">
                <a16:creationId xmlns:a16="http://schemas.microsoft.com/office/drawing/2014/main" id="{1015DE26-15FA-E266-CA38-213C25CA843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05094" y="5443980"/>
            <a:ext cx="913062" cy="1160020"/>
          </a:xfrm>
          <a:prstGeom prst="rect">
            <a:avLst/>
          </a:prstGeom>
        </p:spPr>
      </p:pic>
      <p:pic>
        <p:nvPicPr>
          <p:cNvPr id="7" name="Image 6" descr="Une image contenant texte, clipart&#10;&#10;Description générée automatiquement">
            <a:extLst>
              <a:ext uri="{FF2B5EF4-FFF2-40B4-BE49-F238E27FC236}">
                <a16:creationId xmlns:a16="http://schemas.microsoft.com/office/drawing/2014/main" id="{CC64CF02-84AD-7A1D-DF8F-68CB36F0826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95847" y="36572"/>
            <a:ext cx="2110733" cy="969876"/>
          </a:xfrm>
          <a:prstGeom prst="rect">
            <a:avLst/>
          </a:prstGeom>
        </p:spPr>
      </p:pic>
    </p:spTree>
    <p:extLst>
      <p:ext uri="{BB962C8B-B14F-4D97-AF65-F5344CB8AC3E}">
        <p14:creationId xmlns:p14="http://schemas.microsoft.com/office/powerpoint/2010/main" val="1040381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ChangeArrowheads="1"/>
          </p:cNvSpPr>
          <p:nvPr/>
        </p:nvSpPr>
        <p:spPr bwMode="auto">
          <a:xfrm>
            <a:off x="4007768" y="911440"/>
            <a:ext cx="4543596" cy="342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1" algn="just" eaLnBrk="1" fontAlgn="base" hangingPunct="1">
              <a:spcBef>
                <a:spcPct val="0"/>
              </a:spcBef>
              <a:spcAft>
                <a:spcPct val="0"/>
              </a:spcAft>
            </a:pPr>
            <a:endParaRPr lang="de-CH" altLang="en-US" sz="2400" dirty="0">
              <a:solidFill>
                <a:prstClr val="black"/>
              </a:solidFill>
            </a:endParaRPr>
          </a:p>
        </p:txBody>
      </p:sp>
      <p:sp>
        <p:nvSpPr>
          <p:cNvPr id="3075" name="Rectangle 6"/>
          <p:cNvSpPr>
            <a:spLocks noChangeArrowheads="1"/>
          </p:cNvSpPr>
          <p:nvPr/>
        </p:nvSpPr>
        <p:spPr bwMode="auto">
          <a:xfrm>
            <a:off x="543345" y="1540565"/>
            <a:ext cx="10930579" cy="5389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lnSpc>
                <a:spcPct val="110000"/>
              </a:lnSpc>
              <a:spcBef>
                <a:spcPct val="0"/>
              </a:spcBef>
              <a:spcAft>
                <a:spcPct val="0"/>
              </a:spcAft>
            </a:pPr>
            <a:r>
              <a:rPr lang="de-CH" altLang="en-US" sz="4800" b="1" dirty="0" err="1">
                <a:solidFill>
                  <a:srgbClr val="F49B03"/>
                </a:solidFill>
                <a:latin typeface="Calibri"/>
              </a:rPr>
              <a:t>Tenons</a:t>
            </a:r>
            <a:r>
              <a:rPr lang="de-CH" altLang="en-US" sz="4800" b="1" dirty="0">
                <a:solidFill>
                  <a:srgbClr val="F49B03"/>
                </a:solidFill>
                <a:latin typeface="Calibri"/>
              </a:rPr>
              <a:t> </a:t>
            </a:r>
            <a:r>
              <a:rPr lang="de-CH" altLang="en-US" sz="4800" b="1" dirty="0" err="1">
                <a:solidFill>
                  <a:srgbClr val="F49B03"/>
                </a:solidFill>
                <a:latin typeface="Calibri"/>
              </a:rPr>
              <a:t>notre</a:t>
            </a:r>
            <a:r>
              <a:rPr lang="de-CH" altLang="en-US" sz="4800" b="1" dirty="0">
                <a:solidFill>
                  <a:srgbClr val="F49B03"/>
                </a:solidFill>
                <a:latin typeface="Calibri"/>
              </a:rPr>
              <a:t> </a:t>
            </a:r>
            <a:r>
              <a:rPr lang="de-CH" altLang="en-US" sz="4800" b="1" dirty="0" err="1">
                <a:solidFill>
                  <a:srgbClr val="F49B03"/>
                </a:solidFill>
                <a:latin typeface="Calibri"/>
              </a:rPr>
              <a:t>promesse</a:t>
            </a:r>
            <a:r>
              <a:rPr lang="de-CH" altLang="en-US" sz="4800" b="1" dirty="0">
                <a:solidFill>
                  <a:srgbClr val="F49B03"/>
                </a:solidFill>
                <a:latin typeface="Calibri"/>
              </a:rPr>
              <a:t> !</a:t>
            </a:r>
            <a:endParaRPr lang="de-CH" altLang="en-US" sz="3600" b="1" dirty="0">
              <a:solidFill>
                <a:srgbClr val="F49B03"/>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79646"/>
              </a:solidFill>
              <a:latin typeface="Calibri"/>
            </a:endParaRPr>
          </a:p>
          <a:p>
            <a:pPr algn="ctr" eaLnBrk="1" fontAlgn="base" hangingPunct="1">
              <a:lnSpc>
                <a:spcPct val="110000"/>
              </a:lnSpc>
              <a:spcBef>
                <a:spcPct val="0"/>
              </a:spcBef>
              <a:spcAft>
                <a:spcPct val="0"/>
              </a:spcAft>
            </a:pPr>
            <a:endParaRPr lang="de-CH" altLang="en-US" sz="3200" b="1" dirty="0">
              <a:solidFill>
                <a:srgbClr val="F49B03"/>
              </a:solidFill>
              <a:latin typeface="Calibri"/>
            </a:endParaRPr>
          </a:p>
          <a:p>
            <a:pPr algn="ctr" eaLnBrk="1" fontAlgn="base" hangingPunct="1">
              <a:lnSpc>
                <a:spcPct val="110000"/>
              </a:lnSpc>
              <a:spcBef>
                <a:spcPct val="0"/>
              </a:spcBef>
              <a:spcAft>
                <a:spcPct val="0"/>
              </a:spcAft>
            </a:pPr>
            <a:r>
              <a:rPr lang="de-CH" altLang="en-US" sz="3200" b="1" dirty="0">
                <a:solidFill>
                  <a:srgbClr val="F49B03"/>
                </a:solidFill>
                <a:latin typeface="Calibri"/>
              </a:rPr>
              <a:t>www.polioeradication.org</a:t>
            </a:r>
            <a:r>
              <a:rPr lang="de-CH" altLang="en-US" sz="3200" b="1" dirty="0">
                <a:solidFill>
                  <a:srgbClr val="F79646"/>
                </a:solidFill>
                <a:latin typeface="Calibri"/>
              </a:rPr>
              <a:t> </a:t>
            </a:r>
          </a:p>
          <a:p>
            <a:pPr algn="ctr" eaLnBrk="1" fontAlgn="base" hangingPunct="1">
              <a:lnSpc>
                <a:spcPct val="110000"/>
              </a:lnSpc>
              <a:spcBef>
                <a:spcPct val="0"/>
              </a:spcBef>
              <a:spcAft>
                <a:spcPct val="0"/>
              </a:spcAft>
            </a:pPr>
            <a:endParaRPr lang="de-CH" altLang="en-US" sz="3200" b="1" dirty="0">
              <a:solidFill>
                <a:srgbClr val="000066"/>
              </a:solidFill>
            </a:endParaRPr>
          </a:p>
          <a:p>
            <a:pPr algn="ctr" eaLnBrk="1" fontAlgn="base" hangingPunct="1">
              <a:lnSpc>
                <a:spcPct val="110000"/>
              </a:lnSpc>
              <a:spcBef>
                <a:spcPct val="0"/>
              </a:spcBef>
              <a:spcAft>
                <a:spcPct val="0"/>
              </a:spcAft>
            </a:pPr>
            <a:br>
              <a:rPr lang="de-CH" altLang="en-US" sz="2400" dirty="0">
                <a:solidFill>
                  <a:srgbClr val="000066"/>
                </a:solidFill>
              </a:rPr>
            </a:br>
            <a:br>
              <a:rPr lang="de-CH" altLang="en-US" sz="3600" b="1" dirty="0">
                <a:solidFill>
                  <a:srgbClr val="000066"/>
                </a:solidFill>
              </a:rPr>
            </a:br>
            <a:endParaRPr lang="de-CH" altLang="en-US" sz="2800" b="1" dirty="0">
              <a:solidFill>
                <a:srgbClr val="000066"/>
              </a:solidFill>
            </a:endParaRPr>
          </a:p>
        </p:txBody>
      </p:sp>
      <p:pic>
        <p:nvPicPr>
          <p:cNvPr id="3" name="Image 2" descr="Une image contenant personne, intérieur, petit, jeune&#10;&#10;Description générée automatiquement">
            <a:extLst>
              <a:ext uri="{FF2B5EF4-FFF2-40B4-BE49-F238E27FC236}">
                <a16:creationId xmlns:a16="http://schemas.microsoft.com/office/drawing/2014/main" id="{C71D49C9-1244-4E79-A6B7-7B5C8CA966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08938" y="1357709"/>
            <a:ext cx="2638753" cy="4371815"/>
          </a:xfrm>
          <a:prstGeom prst="rect">
            <a:avLst/>
          </a:prstGeom>
        </p:spPr>
      </p:pic>
      <p:pic>
        <p:nvPicPr>
          <p:cNvPr id="6" name="Image 5">
            <a:extLst>
              <a:ext uri="{FF2B5EF4-FFF2-40B4-BE49-F238E27FC236}">
                <a16:creationId xmlns:a16="http://schemas.microsoft.com/office/drawing/2014/main" id="{175BE793-B550-BA9C-ABFD-0C59FFD55D3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17393" y="5317435"/>
            <a:ext cx="913062" cy="1160020"/>
          </a:xfrm>
          <a:prstGeom prst="rect">
            <a:avLst/>
          </a:prstGeom>
        </p:spPr>
      </p:pic>
      <p:pic>
        <p:nvPicPr>
          <p:cNvPr id="2" name="Image 1" descr="Une image contenant texte, clipart&#10;&#10;Description générée automatiquement">
            <a:extLst>
              <a:ext uri="{FF2B5EF4-FFF2-40B4-BE49-F238E27FC236}">
                <a16:creationId xmlns:a16="http://schemas.microsoft.com/office/drawing/2014/main" id="{F2C7EF8D-75E1-1BD8-4C9C-EFBCE07748B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05446" y="44285"/>
            <a:ext cx="2114376" cy="971550"/>
          </a:xfrm>
          <a:prstGeom prst="rect">
            <a:avLst/>
          </a:prstGeom>
        </p:spPr>
      </p:pic>
    </p:spTree>
    <p:extLst>
      <p:ext uri="{BB962C8B-B14F-4D97-AF65-F5344CB8AC3E}">
        <p14:creationId xmlns:p14="http://schemas.microsoft.com/office/powerpoint/2010/main" val="21416347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Une image contenant texte, clipart&#10;&#10;Description générée automatiquement">
            <a:extLst>
              <a:ext uri="{FF2B5EF4-FFF2-40B4-BE49-F238E27FC236}">
                <a16:creationId xmlns:a16="http://schemas.microsoft.com/office/drawing/2014/main" id="{49F6E7D8-07A1-0601-796C-3FAC7BE32F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51757" y="-5797"/>
            <a:ext cx="2120505" cy="974366"/>
          </a:xfrm>
          <a:prstGeom prst="rect">
            <a:avLst/>
          </a:prstGeom>
        </p:spPr>
      </p:pic>
      <p:sp>
        <p:nvSpPr>
          <p:cNvPr id="8" name="Espace réservé du numéro de diapositive 3">
            <a:extLst>
              <a:ext uri="{FF2B5EF4-FFF2-40B4-BE49-F238E27FC236}">
                <a16:creationId xmlns:a16="http://schemas.microsoft.com/office/drawing/2014/main" id="{3FB79519-0E02-482E-B9B5-3DCF934385B8}"/>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2</a:t>
            </a:fld>
            <a:endParaRPr lang="en-GB"/>
          </a:p>
        </p:txBody>
      </p:sp>
      <p:pic>
        <p:nvPicPr>
          <p:cNvPr id="10243" name="Picture 3" descr="ECYE3_1988.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142" y="161441"/>
            <a:ext cx="5829942" cy="326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peech Bubble: Oval 2">
            <a:extLst>
              <a:ext uri="{FF2B5EF4-FFF2-40B4-BE49-F238E27FC236}">
                <a16:creationId xmlns:a16="http://schemas.microsoft.com/office/drawing/2014/main" id="{32426DFD-A1B5-4C67-A7B8-4EE3ADDA1720}"/>
              </a:ext>
            </a:extLst>
          </p:cNvPr>
          <p:cNvSpPr/>
          <p:nvPr/>
        </p:nvSpPr>
        <p:spPr>
          <a:xfrm>
            <a:off x="549757" y="3264056"/>
            <a:ext cx="5290898" cy="1326103"/>
          </a:xfrm>
          <a:prstGeom prst="wedgeEllipseCallout">
            <a:avLst>
              <a:gd name="adj1" fmla="val -27785"/>
              <a:gd name="adj2" fmla="val 42607"/>
            </a:avLst>
          </a:prstGeom>
          <a:gradFill>
            <a:gsLst>
              <a:gs pos="0">
                <a:srgbClr val="FF0000"/>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600"/>
              </a:spcBef>
            </a:pPr>
            <a:r>
              <a:rPr lang="en-GB" sz="3200" b="1" dirty="0">
                <a:solidFill>
                  <a:schemeClr val="tx1"/>
                </a:solidFill>
              </a:rPr>
              <a:t>350 000 </a:t>
            </a:r>
            <a:r>
              <a:rPr lang="en-GB" sz="3200" b="1" dirty="0" err="1">
                <a:solidFill>
                  <a:schemeClr val="tx1"/>
                </a:solidFill>
              </a:rPr>
              <a:t>cas</a:t>
            </a:r>
            <a:r>
              <a:rPr lang="en-GB" sz="3200" b="1" dirty="0">
                <a:solidFill>
                  <a:schemeClr val="tx1"/>
                </a:solidFill>
              </a:rPr>
              <a:t> par an dans 125 pays </a:t>
            </a:r>
            <a:endParaRPr lang="en-US" sz="2000" b="1" dirty="0">
              <a:solidFill>
                <a:schemeClr val="tx1"/>
              </a:solidFill>
            </a:endParaRPr>
          </a:p>
        </p:txBody>
      </p:sp>
      <p:sp>
        <p:nvSpPr>
          <p:cNvPr id="10242" name="Rectangle 2"/>
          <p:cNvSpPr>
            <a:spLocks noGrp="1" noChangeArrowheads="1"/>
          </p:cNvSpPr>
          <p:nvPr>
            <p:ph type="title" idx="4294967295"/>
          </p:nvPr>
        </p:nvSpPr>
        <p:spPr>
          <a:xfrm>
            <a:off x="302833" y="2766322"/>
            <a:ext cx="1765005" cy="791815"/>
          </a:xfrm>
          <a:prstGeom prst="rect">
            <a:avLst/>
          </a:prstGeom>
        </p:spPr>
        <p:txBody>
          <a:bodyPr/>
          <a:lstStyle/>
          <a:p>
            <a:pPr>
              <a:lnSpc>
                <a:spcPct val="125000"/>
              </a:lnSpc>
            </a:pPr>
            <a:r>
              <a:rPr lang="de-CH" sz="2800" b="1" dirty="0">
                <a:solidFill>
                  <a:srgbClr val="F49B03"/>
                </a:solidFill>
              </a:rPr>
              <a:t>1985</a:t>
            </a:r>
          </a:p>
        </p:txBody>
      </p:sp>
      <p:pic>
        <p:nvPicPr>
          <p:cNvPr id="5" name="Image 4">
            <a:extLst>
              <a:ext uri="{FF2B5EF4-FFF2-40B4-BE49-F238E27FC236}">
                <a16:creationId xmlns:a16="http://schemas.microsoft.com/office/drawing/2014/main" id="{C8DA745A-CF2B-FD92-74D0-A3924072FB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1569" y="5285875"/>
            <a:ext cx="980101" cy="1245191"/>
          </a:xfrm>
          <a:prstGeom prst="rect">
            <a:avLst/>
          </a:prstGeom>
        </p:spPr>
      </p:pic>
      <p:pic>
        <p:nvPicPr>
          <p:cNvPr id="6" name="Picture 8">
            <a:extLst>
              <a:ext uri="{FF2B5EF4-FFF2-40B4-BE49-F238E27FC236}">
                <a16:creationId xmlns:a16="http://schemas.microsoft.com/office/drawing/2014/main" id="{239A4196-4A2C-1800-775D-03ECFD8708A1}"/>
              </a:ext>
            </a:extLst>
          </p:cNvPr>
          <p:cNvPicPr>
            <a:picLocks noChangeAspect="1"/>
          </p:cNvPicPr>
          <p:nvPr/>
        </p:nvPicPr>
        <p:blipFill rotWithShape="1">
          <a:blip r:embed="rId6" cstate="email">
            <a:alphaModFix/>
            <a:extLst>
              <a:ext uri="{28A0092B-C50C-407E-A947-70E740481C1C}">
                <a14:useLocalDpi xmlns:a14="http://schemas.microsoft.com/office/drawing/2010/main"/>
              </a:ext>
            </a:extLst>
          </a:blip>
          <a:srcRect/>
          <a:stretch/>
        </p:blipFill>
        <p:spPr>
          <a:xfrm>
            <a:off x="6110177" y="3338775"/>
            <a:ext cx="6049681" cy="3107230"/>
          </a:xfrm>
          <a:prstGeom prst="rect">
            <a:avLst/>
          </a:prstGeom>
        </p:spPr>
      </p:pic>
      <p:grpSp>
        <p:nvGrpSpPr>
          <p:cNvPr id="10" name="Groupe 9">
            <a:extLst>
              <a:ext uri="{FF2B5EF4-FFF2-40B4-BE49-F238E27FC236}">
                <a16:creationId xmlns:a16="http://schemas.microsoft.com/office/drawing/2014/main" id="{CFEEE4FA-D131-DC1A-C63F-67AF9809F105}"/>
              </a:ext>
            </a:extLst>
          </p:cNvPr>
          <p:cNvGrpSpPr/>
          <p:nvPr/>
        </p:nvGrpSpPr>
        <p:grpSpPr>
          <a:xfrm>
            <a:off x="9148654" y="5188549"/>
            <a:ext cx="4432276" cy="1101576"/>
            <a:chOff x="8144540" y="3264056"/>
            <a:chExt cx="4432276" cy="1101576"/>
          </a:xfrm>
        </p:grpSpPr>
        <p:sp>
          <p:nvSpPr>
            <p:cNvPr id="7" name="Rectangle 6">
              <a:extLst>
                <a:ext uri="{FF2B5EF4-FFF2-40B4-BE49-F238E27FC236}">
                  <a16:creationId xmlns:a16="http://schemas.microsoft.com/office/drawing/2014/main" id="{95071A05-553A-E24C-29DD-70BFFC887C08}"/>
                </a:ext>
              </a:extLst>
            </p:cNvPr>
            <p:cNvSpPr/>
            <p:nvPr/>
          </p:nvSpPr>
          <p:spPr>
            <a:xfrm>
              <a:off x="8144540" y="3264056"/>
              <a:ext cx="3744500" cy="110157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dirty="0">
                <a:ln>
                  <a:noFill/>
                </a:ln>
                <a:solidFill>
                  <a:prstClr val="white"/>
                </a:solidFill>
                <a:effectLst/>
                <a:uLnTx/>
                <a:uFillTx/>
                <a:latin typeface="Calibri"/>
                <a:ea typeface="+mn-ea"/>
                <a:cs typeface="+mn-cs"/>
              </a:endParaRPr>
            </a:p>
          </p:txBody>
        </p:sp>
        <p:sp>
          <p:nvSpPr>
            <p:cNvPr id="9" name="Rectangle 2">
              <a:extLst>
                <a:ext uri="{FF2B5EF4-FFF2-40B4-BE49-F238E27FC236}">
                  <a16:creationId xmlns:a16="http://schemas.microsoft.com/office/drawing/2014/main" id="{D3478D0B-EB06-846A-007D-1B4E29CA7FA5}"/>
                </a:ext>
              </a:extLst>
            </p:cNvPr>
            <p:cNvSpPr txBox="1">
              <a:spLocks noChangeArrowheads="1"/>
            </p:cNvSpPr>
            <p:nvPr/>
          </p:nvSpPr>
          <p:spPr>
            <a:xfrm>
              <a:off x="8470646" y="3264056"/>
              <a:ext cx="4106170" cy="1101576"/>
            </a:xfrm>
            <a:prstGeom prst="rect">
              <a:avLst/>
            </a:prstGeom>
          </p:spPr>
          <p:txBody>
            <a:bodyPr vert="horz" wrap="square" lIns="0" tIns="0" rIns="0" bIns="0" rtlCol="0" anchor="ctr">
              <a:noAutofit/>
            </a:bodyPr>
            <a:lst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34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Calibri"/>
                  <a:ea typeface="+mj-ea"/>
                  <a:cs typeface="+mj-cs"/>
                </a:rPr>
                <a:t>2023</a:t>
              </a:r>
            </a:p>
            <a:p>
              <a:pPr marL="0" marR="0" lvl="0" indent="0" algn="l" defTabSz="914400" rtl="0" eaLnBrk="1" fontAlgn="base" latinLnBrk="0" hangingPunct="1">
                <a:lnSpc>
                  <a:spcPts val="3400"/>
                </a:lnSpc>
                <a:spcBef>
                  <a:spcPct val="0"/>
                </a:spcBef>
                <a:spcAft>
                  <a:spcPct val="0"/>
                </a:spcAft>
                <a:buClrTx/>
                <a:buSzTx/>
                <a:buFontTx/>
                <a:buNone/>
                <a:tabLst/>
                <a:defRPr/>
              </a:pPr>
              <a:r>
                <a:rPr kumimoji="0" lang="fr-FR" sz="2400" i="0" u="none" strike="noStrike" kern="1200" cap="none" spc="0" normalizeH="0" baseline="0" dirty="0">
                  <a:ln>
                    <a:noFill/>
                  </a:ln>
                  <a:solidFill>
                    <a:prstClr val="white"/>
                  </a:solidFill>
                  <a:effectLst/>
                  <a:uLnTx/>
                  <a:uFillTx/>
                  <a:latin typeface="Calibri"/>
                  <a:ea typeface="+mj-ea"/>
                  <a:cs typeface="+mj-cs"/>
                </a:rPr>
                <a:t>Deux pays seulement !!</a:t>
              </a:r>
            </a:p>
          </p:txBody>
        </p:sp>
      </p:grpSp>
    </p:spTree>
    <p:extLst>
      <p:ext uri="{BB962C8B-B14F-4D97-AF65-F5344CB8AC3E}">
        <p14:creationId xmlns:p14="http://schemas.microsoft.com/office/powerpoint/2010/main" val="60117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oup 7">
            <a:extLst>
              <a:ext uri="{FF2B5EF4-FFF2-40B4-BE49-F238E27FC236}">
                <a16:creationId xmlns:a16="http://schemas.microsoft.com/office/drawing/2014/main" id="{AF7080F7-9EF3-43BF-A0C4-5A21808218EA}"/>
              </a:ext>
            </a:extLst>
          </p:cNvPr>
          <p:cNvGrpSpPr/>
          <p:nvPr/>
        </p:nvGrpSpPr>
        <p:grpSpPr>
          <a:xfrm>
            <a:off x="249282" y="3315516"/>
            <a:ext cx="3511967" cy="3233098"/>
            <a:chOff x="308810" y="3411539"/>
            <a:chExt cx="3511967" cy="3233098"/>
          </a:xfrm>
        </p:grpSpPr>
        <p:pic>
          <p:nvPicPr>
            <p:cNvPr id="37" name="Picture 5" descr="cambodia">
              <a:extLst>
                <a:ext uri="{FF2B5EF4-FFF2-40B4-BE49-F238E27FC236}">
                  <a16:creationId xmlns:a16="http://schemas.microsoft.com/office/drawing/2014/main" id="{A008D5AA-E881-433F-83E9-C1C4330E75B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r="11589" b="7677"/>
            <a:stretch>
              <a:fillRect/>
            </a:stretch>
          </p:blipFill>
          <p:spPr bwMode="auto">
            <a:xfrm>
              <a:off x="460830" y="3452662"/>
              <a:ext cx="3057214" cy="319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9">
              <a:extLst>
                <a:ext uri="{FF2B5EF4-FFF2-40B4-BE49-F238E27FC236}">
                  <a16:creationId xmlns:a16="http://schemas.microsoft.com/office/drawing/2014/main" id="{FD1B064A-B6BD-47E3-A594-F7A169917A3D}"/>
                </a:ext>
              </a:extLst>
            </p:cNvPr>
            <p:cNvGrpSpPr>
              <a:grpSpLocks/>
            </p:cNvGrpSpPr>
            <p:nvPr/>
          </p:nvGrpSpPr>
          <p:grpSpPr bwMode="auto">
            <a:xfrm>
              <a:off x="308810" y="3411539"/>
              <a:ext cx="3511967" cy="1049339"/>
              <a:chOff x="-418" y="2134"/>
              <a:chExt cx="2297" cy="661"/>
            </a:xfrm>
          </p:grpSpPr>
          <p:sp>
            <p:nvSpPr>
              <p:cNvPr id="40" name="Text Box 10">
                <a:extLst>
                  <a:ext uri="{FF2B5EF4-FFF2-40B4-BE49-F238E27FC236}">
                    <a16:creationId xmlns:a16="http://schemas.microsoft.com/office/drawing/2014/main" id="{6EF40447-8611-4EB2-8BA9-C265FE1D400A}"/>
                  </a:ext>
                </a:extLst>
              </p:cNvPr>
              <p:cNvSpPr txBox="1">
                <a:spLocks noChangeArrowheads="1"/>
              </p:cNvSpPr>
              <p:nvPr/>
            </p:nvSpPr>
            <p:spPr bwMode="auto">
              <a:xfrm>
                <a:off x="1758" y="2504"/>
                <a:ext cx="121"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endParaRPr lang="fr-CH" altLang="en-US" sz="2400" dirty="0">
                  <a:solidFill>
                    <a:prstClr val="black"/>
                  </a:solidFill>
                  <a:latin typeface="Arial (W1)" charset="0"/>
                </a:endParaRPr>
              </a:p>
            </p:txBody>
          </p:sp>
          <p:sp>
            <p:nvSpPr>
              <p:cNvPr id="41" name="Text Box 11">
                <a:extLst>
                  <a:ext uri="{FF2B5EF4-FFF2-40B4-BE49-F238E27FC236}">
                    <a16:creationId xmlns:a16="http://schemas.microsoft.com/office/drawing/2014/main" id="{7B3FA10C-48EE-46C1-A685-7AC676D1C493}"/>
                  </a:ext>
                </a:extLst>
              </p:cNvPr>
              <p:cNvSpPr txBox="1">
                <a:spLocks noChangeArrowheads="1"/>
              </p:cNvSpPr>
              <p:nvPr/>
            </p:nvSpPr>
            <p:spPr bwMode="auto">
              <a:xfrm>
                <a:off x="-418" y="2134"/>
                <a:ext cx="2236" cy="2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fr-CH" altLang="en-US" b="1" dirty="0">
                    <a:solidFill>
                      <a:schemeClr val="bg1"/>
                    </a:solidFill>
                  </a:rPr>
                  <a:t>Pacifique Occidental-1997 </a:t>
                </a:r>
                <a:endParaRPr lang="fr-CH" altLang="en-US" sz="2000" b="1" dirty="0">
                  <a:solidFill>
                    <a:schemeClr val="bg1"/>
                  </a:solidFill>
                </a:endParaRPr>
              </a:p>
            </p:txBody>
          </p:sp>
        </p:grpSp>
        <p:sp>
          <p:nvSpPr>
            <p:cNvPr id="39" name="TextBox 1">
              <a:extLst>
                <a:ext uri="{FF2B5EF4-FFF2-40B4-BE49-F238E27FC236}">
                  <a16:creationId xmlns:a16="http://schemas.microsoft.com/office/drawing/2014/main" id="{185FB1EA-C803-4F75-9264-EA2204896763}"/>
                </a:ext>
              </a:extLst>
            </p:cNvPr>
            <p:cNvSpPr txBox="1"/>
            <p:nvPr/>
          </p:nvSpPr>
          <p:spPr>
            <a:xfrm>
              <a:off x="906888" y="5996228"/>
              <a:ext cx="316946" cy="646331"/>
            </a:xfrm>
            <a:prstGeom prst="rect">
              <a:avLst/>
            </a:prstGeom>
            <a:noFill/>
          </p:spPr>
          <p:txBody>
            <a:bodyPr wrap="none" rtlCol="0">
              <a:spAutoFit/>
            </a:bodyPr>
            <a:lstStyle/>
            <a:p>
              <a:pPr algn="ctr" fontAlgn="base">
                <a:spcBef>
                  <a:spcPct val="0"/>
                </a:spcBef>
                <a:spcAft>
                  <a:spcPct val="0"/>
                </a:spcAft>
              </a:pPr>
              <a:endParaRPr lang="fr-CH" altLang="en-US" dirty="0">
                <a:solidFill>
                  <a:schemeClr val="bg1"/>
                </a:solidFill>
              </a:endParaRPr>
            </a:p>
            <a:p>
              <a:endParaRPr lang="fr-CH" dirty="0"/>
            </a:p>
          </p:txBody>
        </p:sp>
      </p:grpSp>
      <p:sp>
        <p:nvSpPr>
          <p:cNvPr id="37899" name="Rectangle 2"/>
          <p:cNvSpPr>
            <a:spLocks noGrp="1" noChangeArrowheads="1"/>
          </p:cNvSpPr>
          <p:nvPr>
            <p:ph type="title"/>
          </p:nvPr>
        </p:nvSpPr>
        <p:spPr>
          <a:xfrm>
            <a:off x="17013" y="193116"/>
            <a:ext cx="12192000" cy="775234"/>
          </a:xfrm>
          <a:solidFill>
            <a:schemeClr val="bg1"/>
          </a:solidFill>
        </p:spPr>
        <p:txBody>
          <a:bodyPr/>
          <a:lstStyle/>
          <a:p>
            <a:r>
              <a:rPr lang="de-CH" altLang="en-US" sz="3600" b="1" dirty="0" err="1">
                <a:solidFill>
                  <a:srgbClr val="F49B03"/>
                </a:solidFill>
              </a:rPr>
              <a:t>Les</a:t>
            </a:r>
            <a:r>
              <a:rPr lang="de-CH" altLang="en-US" sz="3600" b="1" dirty="0">
                <a:solidFill>
                  <a:srgbClr val="F49B03"/>
                </a:solidFill>
              </a:rPr>
              <a:t> </a:t>
            </a:r>
            <a:r>
              <a:rPr lang="de-CH" altLang="en-US" sz="3600" b="1" dirty="0" err="1">
                <a:solidFill>
                  <a:srgbClr val="F49B03"/>
                </a:solidFill>
              </a:rPr>
              <a:t>derniers</a:t>
            </a:r>
            <a:r>
              <a:rPr lang="de-CH" altLang="en-US" sz="3600" b="1" dirty="0">
                <a:solidFill>
                  <a:srgbClr val="F49B03"/>
                </a:solidFill>
              </a:rPr>
              <a:t> </a:t>
            </a:r>
            <a:r>
              <a:rPr lang="de-CH" altLang="en-US" sz="3600" b="1" dirty="0" err="1">
                <a:solidFill>
                  <a:srgbClr val="F49B03"/>
                </a:solidFill>
              </a:rPr>
              <a:t>cas</a:t>
            </a:r>
            <a:r>
              <a:rPr lang="de-CH" altLang="en-US" sz="3600" b="1" dirty="0">
                <a:solidFill>
                  <a:srgbClr val="F49B03"/>
                </a:solidFill>
              </a:rPr>
              <a:t>  </a:t>
            </a:r>
            <a:br>
              <a:rPr lang="de-CH" altLang="en-US" sz="3600" b="1" dirty="0">
                <a:solidFill>
                  <a:srgbClr val="F49B03"/>
                </a:solidFill>
              </a:rPr>
            </a:br>
            <a:endParaRPr lang="de-CH" altLang="en-US" sz="3600" b="1" dirty="0">
              <a:solidFill>
                <a:srgbClr val="F49B03"/>
              </a:solidFill>
            </a:endParaRPr>
          </a:p>
        </p:txBody>
      </p:sp>
      <p:pic>
        <p:nvPicPr>
          <p:cNvPr id="37896" name="Picture 2" descr="Rukshar_photo"/>
          <p:cNvPicPr>
            <a:picLocks noChangeAspect="1" noChangeArrowheads="1"/>
          </p:cNvPicPr>
          <p:nvPr/>
        </p:nvPicPr>
        <p:blipFill>
          <a:blip r:embed="rId4" cstate="email">
            <a:lum contrast="30000"/>
            <a:extLst>
              <a:ext uri="{28A0092B-C50C-407E-A947-70E740481C1C}">
                <a14:useLocalDpi xmlns:a14="http://schemas.microsoft.com/office/drawing/2010/main"/>
              </a:ext>
            </a:extLst>
          </a:blip>
          <a:srcRect/>
          <a:stretch>
            <a:fillRect/>
          </a:stretch>
        </p:blipFill>
        <p:spPr bwMode="auto">
          <a:xfrm>
            <a:off x="8725082" y="3436937"/>
            <a:ext cx="3211512" cy="314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7" name="Text Box 12"/>
          <p:cNvSpPr txBox="1">
            <a:spLocks noChangeArrowheads="1"/>
          </p:cNvSpPr>
          <p:nvPr/>
        </p:nvSpPr>
        <p:spPr bwMode="auto">
          <a:xfrm>
            <a:off x="8591395" y="3415553"/>
            <a:ext cx="3299323" cy="7694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GB" altLang="en-US" sz="2000" b="1" dirty="0" err="1">
                <a:solidFill>
                  <a:schemeClr val="bg1"/>
                </a:solidFill>
              </a:rPr>
              <a:t>Asie</a:t>
            </a:r>
            <a:r>
              <a:rPr lang="en-GB" altLang="en-US" sz="2000" b="1" dirty="0">
                <a:solidFill>
                  <a:schemeClr val="bg1"/>
                </a:solidFill>
              </a:rPr>
              <a:t> du Sud Est -2011 </a:t>
            </a:r>
          </a:p>
          <a:p>
            <a:pPr algn="r" eaLnBrk="1" fontAlgn="base" hangingPunct="1">
              <a:spcBef>
                <a:spcPct val="0"/>
              </a:spcBef>
              <a:spcAft>
                <a:spcPct val="0"/>
              </a:spcAft>
            </a:pPr>
            <a:endParaRPr lang="fr-CH" altLang="en-US" sz="2400" dirty="0">
              <a:solidFill>
                <a:prstClr val="white"/>
              </a:solidFill>
            </a:endParaRPr>
          </a:p>
        </p:txBody>
      </p:sp>
      <p:pic>
        <p:nvPicPr>
          <p:cNvPr id="18" name="Picture 17">
            <a:extLst>
              <a:ext uri="{FF2B5EF4-FFF2-40B4-BE49-F238E27FC236}">
                <a16:creationId xmlns:a16="http://schemas.microsoft.com/office/drawing/2014/main" id="{9A82DD3E-3F2B-4298-A28E-1F450658DCD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16739" y="1343156"/>
            <a:ext cx="3627909" cy="4405715"/>
          </a:xfrm>
          <a:prstGeom prst="rect">
            <a:avLst/>
          </a:prstGeom>
        </p:spPr>
      </p:pic>
      <p:sp>
        <p:nvSpPr>
          <p:cNvPr id="19" name="Text Box 7">
            <a:extLst>
              <a:ext uri="{FF2B5EF4-FFF2-40B4-BE49-F238E27FC236}">
                <a16:creationId xmlns:a16="http://schemas.microsoft.com/office/drawing/2014/main" id="{BEAD73BE-DDE5-4338-9FE2-2D92070F7397}"/>
              </a:ext>
            </a:extLst>
          </p:cNvPr>
          <p:cNvSpPr txBox="1">
            <a:spLocks noChangeArrowheads="1"/>
          </p:cNvSpPr>
          <p:nvPr/>
        </p:nvSpPr>
        <p:spPr bwMode="auto">
          <a:xfrm>
            <a:off x="4510432" y="5737232"/>
            <a:ext cx="3205162" cy="46166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fr-CH" altLang="en-US" sz="2400" b="1" dirty="0"/>
              <a:t>Afrique  2016</a:t>
            </a:r>
          </a:p>
        </p:txBody>
      </p:sp>
      <p:sp>
        <p:nvSpPr>
          <p:cNvPr id="23" name="TextBox 22">
            <a:extLst>
              <a:ext uri="{FF2B5EF4-FFF2-40B4-BE49-F238E27FC236}">
                <a16:creationId xmlns:a16="http://schemas.microsoft.com/office/drawing/2014/main" id="{714F262B-5F33-425D-B85C-5EFB4A3D0C90}"/>
              </a:ext>
            </a:extLst>
          </p:cNvPr>
          <p:cNvSpPr txBox="1"/>
          <p:nvPr/>
        </p:nvSpPr>
        <p:spPr>
          <a:xfrm>
            <a:off x="9046952" y="6122107"/>
            <a:ext cx="2701317" cy="400110"/>
          </a:xfrm>
          <a:prstGeom prst="rect">
            <a:avLst/>
          </a:prstGeom>
          <a:noFill/>
        </p:spPr>
        <p:txBody>
          <a:bodyPr wrap="none" rtlCol="0">
            <a:spAutoFit/>
          </a:bodyPr>
          <a:lstStyle/>
          <a:p>
            <a:r>
              <a:rPr lang="en-GB" sz="2000" b="1" dirty="0" err="1">
                <a:solidFill>
                  <a:schemeClr val="bg1"/>
                </a:solidFill>
              </a:rPr>
              <a:t>Rukhsar</a:t>
            </a:r>
            <a:r>
              <a:rPr lang="en-GB" sz="2000" b="1" dirty="0">
                <a:solidFill>
                  <a:schemeClr val="bg1"/>
                </a:solidFill>
              </a:rPr>
              <a:t> Khatoon (</a:t>
            </a:r>
            <a:r>
              <a:rPr lang="en-GB" sz="2000" b="1" dirty="0" err="1">
                <a:solidFill>
                  <a:schemeClr val="bg1"/>
                </a:solidFill>
              </a:rPr>
              <a:t>Inde</a:t>
            </a:r>
            <a:r>
              <a:rPr lang="en-GB" sz="2000" b="1" dirty="0">
                <a:solidFill>
                  <a:schemeClr val="bg1"/>
                </a:solidFill>
              </a:rPr>
              <a:t>)</a:t>
            </a:r>
            <a:endParaRPr lang="en-US" sz="2000" b="1" dirty="0">
              <a:solidFill>
                <a:schemeClr val="bg1"/>
              </a:solidFill>
            </a:endParaRPr>
          </a:p>
        </p:txBody>
      </p:sp>
      <p:sp>
        <p:nvSpPr>
          <p:cNvPr id="24" name="TextBox 23">
            <a:extLst>
              <a:ext uri="{FF2B5EF4-FFF2-40B4-BE49-F238E27FC236}">
                <a16:creationId xmlns:a16="http://schemas.microsoft.com/office/drawing/2014/main" id="{669147AE-23AE-457B-B1E9-C1B3FF3663D1}"/>
              </a:ext>
            </a:extLst>
          </p:cNvPr>
          <p:cNvSpPr txBox="1"/>
          <p:nvPr/>
        </p:nvSpPr>
        <p:spPr>
          <a:xfrm>
            <a:off x="4839155" y="6122191"/>
            <a:ext cx="2497800" cy="400110"/>
          </a:xfrm>
          <a:prstGeom prst="rect">
            <a:avLst/>
          </a:prstGeom>
          <a:noFill/>
        </p:spPr>
        <p:txBody>
          <a:bodyPr wrap="none" rtlCol="0">
            <a:spAutoFit/>
          </a:bodyPr>
          <a:lstStyle/>
          <a:p>
            <a:r>
              <a:rPr lang="en-GB" sz="2000" b="1" dirty="0" err="1"/>
              <a:t>Ya</a:t>
            </a:r>
            <a:r>
              <a:rPr lang="en-GB" sz="2000" b="1" dirty="0"/>
              <a:t> </a:t>
            </a:r>
            <a:r>
              <a:rPr lang="en-GB" sz="2000" b="1" dirty="0" err="1"/>
              <a:t>Fanna</a:t>
            </a:r>
            <a:r>
              <a:rPr lang="en-GB" sz="2000" b="1" dirty="0"/>
              <a:t> Ali (</a:t>
            </a:r>
            <a:r>
              <a:rPr lang="en-GB" sz="2000" b="1" dirty="0" err="1"/>
              <a:t>Nigéria</a:t>
            </a:r>
            <a:r>
              <a:rPr lang="en-GB" sz="2000" b="1" dirty="0"/>
              <a:t>) </a:t>
            </a:r>
            <a:endParaRPr lang="en-US" sz="2000" b="1" dirty="0"/>
          </a:p>
        </p:txBody>
      </p:sp>
      <p:grpSp>
        <p:nvGrpSpPr>
          <p:cNvPr id="7" name="Group 6">
            <a:extLst>
              <a:ext uri="{FF2B5EF4-FFF2-40B4-BE49-F238E27FC236}">
                <a16:creationId xmlns:a16="http://schemas.microsoft.com/office/drawing/2014/main" id="{92E94113-5798-40CE-84C5-8A1EBF3C1A9E}"/>
              </a:ext>
            </a:extLst>
          </p:cNvPr>
          <p:cNvGrpSpPr/>
          <p:nvPr/>
        </p:nvGrpSpPr>
        <p:grpSpPr>
          <a:xfrm>
            <a:off x="408209" y="137365"/>
            <a:ext cx="3081338" cy="3189288"/>
            <a:chOff x="423680" y="211930"/>
            <a:chExt cx="3081338" cy="3189288"/>
          </a:xfrm>
        </p:grpSpPr>
        <p:pic>
          <p:nvPicPr>
            <p:cNvPr id="37890" name="Picture 3" descr="peru"/>
            <p:cNvPicPr>
              <a:picLocks noChangeAspect="1" noChangeArrowheads="1"/>
            </p:cNvPicPr>
            <p:nvPr/>
          </p:nvPicPr>
          <p:blipFill>
            <a:blip r:embed="rId6" cstate="email">
              <a:extLst>
                <a:ext uri="{28A0092B-C50C-407E-A947-70E740481C1C}">
                  <a14:useLocalDpi xmlns:a14="http://schemas.microsoft.com/office/drawing/2010/main"/>
                </a:ext>
              </a:extLst>
            </a:blip>
            <a:srcRect l="4259" r="21515" b="25389"/>
            <a:stretch>
              <a:fillRect/>
            </a:stretch>
          </p:blipFill>
          <p:spPr bwMode="auto">
            <a:xfrm>
              <a:off x="423680" y="211930"/>
              <a:ext cx="3081338" cy="318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893" name="Group 6"/>
            <p:cNvGrpSpPr>
              <a:grpSpLocks/>
            </p:cNvGrpSpPr>
            <p:nvPr/>
          </p:nvGrpSpPr>
          <p:grpSpPr bwMode="auto">
            <a:xfrm>
              <a:off x="601482" y="262020"/>
              <a:ext cx="2725133" cy="1155700"/>
              <a:chOff x="-209" y="379"/>
              <a:chExt cx="2362" cy="728"/>
            </a:xfrm>
          </p:grpSpPr>
          <p:sp>
            <p:nvSpPr>
              <p:cNvPr id="37904" name="Text Box 7"/>
              <p:cNvSpPr txBox="1">
                <a:spLocks noChangeArrowheads="1"/>
              </p:cNvSpPr>
              <p:nvPr/>
            </p:nvSpPr>
            <p:spPr bwMode="auto">
              <a:xfrm>
                <a:off x="-209" y="379"/>
                <a:ext cx="2362" cy="29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fr-CH" altLang="en-US" sz="2400" dirty="0">
                    <a:solidFill>
                      <a:prstClr val="white"/>
                    </a:solidFill>
                  </a:rPr>
                  <a:t>Amériques- 1991 </a:t>
                </a:r>
              </a:p>
            </p:txBody>
          </p:sp>
          <p:sp>
            <p:nvSpPr>
              <p:cNvPr id="37905" name="Text Box 8"/>
              <p:cNvSpPr txBox="1">
                <a:spLocks noChangeArrowheads="1"/>
              </p:cNvSpPr>
              <p:nvPr/>
            </p:nvSpPr>
            <p:spPr bwMode="auto">
              <a:xfrm>
                <a:off x="1774" y="816"/>
                <a:ext cx="160"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endParaRPr lang="fr-CH" altLang="en-US" sz="2400" dirty="0">
                  <a:solidFill>
                    <a:prstClr val="black"/>
                  </a:solidFill>
                  <a:latin typeface="Arial (W1)" charset="0"/>
                </a:endParaRPr>
              </a:p>
            </p:txBody>
          </p:sp>
        </p:grpSp>
      </p:grpSp>
      <p:grpSp>
        <p:nvGrpSpPr>
          <p:cNvPr id="9" name="Group 8">
            <a:extLst>
              <a:ext uri="{FF2B5EF4-FFF2-40B4-BE49-F238E27FC236}">
                <a16:creationId xmlns:a16="http://schemas.microsoft.com/office/drawing/2014/main" id="{EC270CB2-62F3-4E16-AA21-F99AED011BE7}"/>
              </a:ext>
            </a:extLst>
          </p:cNvPr>
          <p:cNvGrpSpPr/>
          <p:nvPr/>
        </p:nvGrpSpPr>
        <p:grpSpPr>
          <a:xfrm>
            <a:off x="8731432" y="125066"/>
            <a:ext cx="3205162" cy="3240087"/>
            <a:chOff x="8702236" y="72247"/>
            <a:chExt cx="3205162" cy="3240087"/>
          </a:xfrm>
        </p:grpSpPr>
        <p:pic>
          <p:nvPicPr>
            <p:cNvPr id="37891" name="Picture 4" descr="eurolastcase"/>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702236" y="72247"/>
              <a:ext cx="3205162" cy="324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5" name="Text Box 12"/>
            <p:cNvSpPr txBox="1">
              <a:spLocks noChangeArrowheads="1"/>
            </p:cNvSpPr>
            <p:nvPr/>
          </p:nvSpPr>
          <p:spPr bwMode="auto">
            <a:xfrm>
              <a:off x="9145430" y="2432426"/>
              <a:ext cx="2241577" cy="7694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fr-CH" altLang="en-US" sz="2000" b="1" dirty="0">
                  <a:solidFill>
                    <a:schemeClr val="bg1"/>
                  </a:solidFill>
                </a:rPr>
                <a:t>Europe 1998</a:t>
              </a:r>
            </a:p>
            <a:p>
              <a:pPr algn="ctr" eaLnBrk="1" fontAlgn="base" hangingPunct="1">
                <a:spcBef>
                  <a:spcPct val="0"/>
                </a:spcBef>
                <a:spcAft>
                  <a:spcPct val="0"/>
                </a:spcAft>
              </a:pPr>
              <a:endParaRPr lang="en-US" altLang="en-US" sz="2400" dirty="0">
                <a:solidFill>
                  <a:schemeClr val="bg1"/>
                </a:solidFill>
              </a:endParaRPr>
            </a:p>
          </p:txBody>
        </p:sp>
        <p:sp>
          <p:nvSpPr>
            <p:cNvPr id="5" name="TextBox 4">
              <a:extLst>
                <a:ext uri="{FF2B5EF4-FFF2-40B4-BE49-F238E27FC236}">
                  <a16:creationId xmlns:a16="http://schemas.microsoft.com/office/drawing/2014/main" id="{5E1D80C7-7CDD-4EF9-9604-907BBDF78F7B}"/>
                </a:ext>
              </a:extLst>
            </p:cNvPr>
            <p:cNvSpPr txBox="1"/>
            <p:nvPr/>
          </p:nvSpPr>
          <p:spPr>
            <a:xfrm>
              <a:off x="11328417" y="2766363"/>
              <a:ext cx="184730" cy="338554"/>
            </a:xfrm>
            <a:prstGeom prst="rect">
              <a:avLst/>
            </a:prstGeom>
            <a:noFill/>
          </p:spPr>
          <p:txBody>
            <a:bodyPr wrap="none" rtlCol="0">
              <a:spAutoFit/>
            </a:bodyPr>
            <a:lstStyle/>
            <a:p>
              <a:pPr algn="ctr" fontAlgn="base">
                <a:spcBef>
                  <a:spcPct val="0"/>
                </a:spcBef>
                <a:spcAft>
                  <a:spcPct val="0"/>
                </a:spcAft>
              </a:pPr>
              <a:endParaRPr lang="en-GB" altLang="en-US" sz="1600" dirty="0">
                <a:solidFill>
                  <a:prstClr val="white"/>
                </a:solidFill>
              </a:endParaRPr>
            </a:p>
          </p:txBody>
        </p:sp>
      </p:grpSp>
      <p:sp>
        <p:nvSpPr>
          <p:cNvPr id="3" name="TextBox 2">
            <a:extLst>
              <a:ext uri="{FF2B5EF4-FFF2-40B4-BE49-F238E27FC236}">
                <a16:creationId xmlns:a16="http://schemas.microsoft.com/office/drawing/2014/main" id="{1A0B50A5-C97D-427C-B6DD-FCE18047B532}"/>
              </a:ext>
            </a:extLst>
          </p:cNvPr>
          <p:cNvSpPr txBox="1"/>
          <p:nvPr/>
        </p:nvSpPr>
        <p:spPr>
          <a:xfrm>
            <a:off x="453794" y="2913337"/>
            <a:ext cx="3089757" cy="400110"/>
          </a:xfrm>
          <a:prstGeom prst="rect">
            <a:avLst/>
          </a:prstGeom>
          <a:noFill/>
        </p:spPr>
        <p:txBody>
          <a:bodyPr wrap="none" rtlCol="0">
            <a:spAutoFit/>
          </a:bodyPr>
          <a:lstStyle/>
          <a:p>
            <a:r>
              <a:rPr lang="en-GB" sz="2000" b="1" dirty="0"/>
              <a:t>Luis Fermin </a:t>
            </a:r>
            <a:r>
              <a:rPr lang="en-GB" sz="2000" b="1" dirty="0" err="1"/>
              <a:t>Tenoria</a:t>
            </a:r>
            <a:r>
              <a:rPr lang="en-GB" sz="2000" b="1" dirty="0"/>
              <a:t> (</a:t>
            </a:r>
            <a:r>
              <a:rPr lang="en-GB" sz="2000" b="1" dirty="0" err="1"/>
              <a:t>Pérou</a:t>
            </a:r>
            <a:r>
              <a:rPr lang="en-GB" sz="2000" b="1" dirty="0"/>
              <a:t>)</a:t>
            </a:r>
            <a:endParaRPr lang="en-US" sz="2000" b="1" dirty="0"/>
          </a:p>
        </p:txBody>
      </p:sp>
      <p:sp>
        <p:nvSpPr>
          <p:cNvPr id="21" name="TextBox 20">
            <a:extLst>
              <a:ext uri="{FF2B5EF4-FFF2-40B4-BE49-F238E27FC236}">
                <a16:creationId xmlns:a16="http://schemas.microsoft.com/office/drawing/2014/main" id="{887FFB20-6E38-46CB-B417-647D1181458D}"/>
              </a:ext>
            </a:extLst>
          </p:cNvPr>
          <p:cNvSpPr txBox="1"/>
          <p:nvPr/>
        </p:nvSpPr>
        <p:spPr>
          <a:xfrm>
            <a:off x="586011" y="6162515"/>
            <a:ext cx="3026470" cy="400110"/>
          </a:xfrm>
          <a:prstGeom prst="rect">
            <a:avLst/>
          </a:prstGeom>
          <a:noFill/>
        </p:spPr>
        <p:txBody>
          <a:bodyPr wrap="none" rtlCol="0">
            <a:spAutoFit/>
          </a:bodyPr>
          <a:lstStyle/>
          <a:p>
            <a:r>
              <a:rPr lang="en-GB" sz="2000" b="1" dirty="0">
                <a:solidFill>
                  <a:schemeClr val="bg1"/>
                </a:solidFill>
              </a:rPr>
              <a:t>Mom Chanty (</a:t>
            </a:r>
            <a:r>
              <a:rPr lang="en-GB" sz="2000" b="1" dirty="0" err="1">
                <a:solidFill>
                  <a:schemeClr val="bg1"/>
                </a:solidFill>
              </a:rPr>
              <a:t>Cambodge</a:t>
            </a:r>
            <a:r>
              <a:rPr lang="en-GB" sz="2000" b="1" dirty="0">
                <a:solidFill>
                  <a:schemeClr val="bg1"/>
                </a:solidFill>
              </a:rPr>
              <a:t>)  </a:t>
            </a:r>
            <a:endParaRPr lang="en-US" sz="2000" b="1" dirty="0">
              <a:solidFill>
                <a:schemeClr val="bg1"/>
              </a:solidFill>
            </a:endParaRPr>
          </a:p>
        </p:txBody>
      </p:sp>
      <p:sp>
        <p:nvSpPr>
          <p:cNvPr id="22" name="TextBox 21">
            <a:extLst>
              <a:ext uri="{FF2B5EF4-FFF2-40B4-BE49-F238E27FC236}">
                <a16:creationId xmlns:a16="http://schemas.microsoft.com/office/drawing/2014/main" id="{A1EB8D2C-30B6-4123-B597-DCA2DDF09EF2}"/>
              </a:ext>
            </a:extLst>
          </p:cNvPr>
          <p:cNvSpPr txBox="1"/>
          <p:nvPr/>
        </p:nvSpPr>
        <p:spPr>
          <a:xfrm>
            <a:off x="9039587" y="2926360"/>
            <a:ext cx="2582502" cy="400110"/>
          </a:xfrm>
          <a:prstGeom prst="rect">
            <a:avLst/>
          </a:prstGeom>
          <a:noFill/>
        </p:spPr>
        <p:txBody>
          <a:bodyPr wrap="none" rtlCol="0">
            <a:spAutoFit/>
          </a:bodyPr>
          <a:lstStyle/>
          <a:p>
            <a:r>
              <a:rPr lang="en-GB" sz="2000" b="1" dirty="0" err="1">
                <a:solidFill>
                  <a:schemeClr val="bg1"/>
                </a:solidFill>
              </a:rPr>
              <a:t>Melik</a:t>
            </a:r>
            <a:r>
              <a:rPr lang="en-GB" sz="2000" b="1" dirty="0">
                <a:solidFill>
                  <a:schemeClr val="bg1"/>
                </a:solidFill>
              </a:rPr>
              <a:t> Minas (</a:t>
            </a:r>
            <a:r>
              <a:rPr lang="en-GB" sz="2000" b="1" dirty="0" err="1">
                <a:solidFill>
                  <a:schemeClr val="bg1"/>
                </a:solidFill>
              </a:rPr>
              <a:t>Turquie</a:t>
            </a:r>
            <a:r>
              <a:rPr lang="en-GB" sz="2000" b="1" dirty="0">
                <a:solidFill>
                  <a:schemeClr val="bg1"/>
                </a:solidFill>
              </a:rPr>
              <a:t>) </a:t>
            </a:r>
            <a:endParaRPr lang="en-US" sz="2000" b="1" dirty="0">
              <a:solidFill>
                <a:schemeClr val="bg1"/>
              </a:solidFill>
            </a:endParaRPr>
          </a:p>
        </p:txBody>
      </p:sp>
      <p:sp>
        <p:nvSpPr>
          <p:cNvPr id="27" name="Espace réservé du numéro de diapositive 3">
            <a:extLst>
              <a:ext uri="{FF2B5EF4-FFF2-40B4-BE49-F238E27FC236}">
                <a16:creationId xmlns:a16="http://schemas.microsoft.com/office/drawing/2014/main" id="{B2B32A9D-2368-4D6C-9077-3C48BD0676B1}"/>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3</a:t>
            </a:fld>
            <a:endParaRPr lang="en-GB"/>
          </a:p>
        </p:txBody>
      </p:sp>
      <p:sp>
        <p:nvSpPr>
          <p:cNvPr id="6" name="Bulle narrative : rectangle à coins arrondis 5">
            <a:extLst>
              <a:ext uri="{FF2B5EF4-FFF2-40B4-BE49-F238E27FC236}">
                <a16:creationId xmlns:a16="http://schemas.microsoft.com/office/drawing/2014/main" id="{D63CC3BE-1017-4FAA-A160-F3DCF54EEE76}"/>
              </a:ext>
            </a:extLst>
          </p:cNvPr>
          <p:cNvSpPr/>
          <p:nvPr/>
        </p:nvSpPr>
        <p:spPr>
          <a:xfrm>
            <a:off x="1324610" y="1348667"/>
            <a:ext cx="9756627" cy="3240088"/>
          </a:xfrm>
          <a:prstGeom prst="wedgeRoundRectCallout">
            <a:avLst>
              <a:gd name="adj1" fmla="val -16394"/>
              <a:gd name="adj2" fmla="val -46620"/>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1200"/>
              </a:spcBef>
            </a:pPr>
            <a:r>
              <a:rPr lang="fr-FR" sz="3200" b="1" dirty="0">
                <a:solidFill>
                  <a:schemeClr val="tx1"/>
                </a:solidFill>
              </a:rPr>
              <a:t>5 des 6 régions du monde </a:t>
            </a:r>
          </a:p>
          <a:p>
            <a:pPr algn="ctr">
              <a:spcBef>
                <a:spcPts val="1200"/>
              </a:spcBef>
            </a:pPr>
            <a:r>
              <a:rPr lang="fr-FR" sz="3200" b="1" dirty="0">
                <a:solidFill>
                  <a:schemeClr val="tx1"/>
                </a:solidFill>
              </a:rPr>
              <a:t>ont totalement éradiqué le  virus sauvage de la polio </a:t>
            </a:r>
          </a:p>
          <a:p>
            <a:pPr algn="ctr">
              <a:spcBef>
                <a:spcPts val="1200"/>
              </a:spcBef>
            </a:pPr>
            <a:r>
              <a:rPr lang="fr-FR" sz="2800" dirty="0">
                <a:solidFill>
                  <a:schemeClr val="tx1"/>
                </a:solidFill>
              </a:rPr>
              <a:t>(Certification par l’OMS, 3 ans au moins après le dernier cas)</a:t>
            </a:r>
            <a:endParaRPr lang="fr-FR" sz="1600" dirty="0">
              <a:solidFill>
                <a:schemeClr val="tx1"/>
              </a:solidFill>
            </a:endParaRPr>
          </a:p>
        </p:txBody>
      </p:sp>
      <p:sp>
        <p:nvSpPr>
          <p:cNvPr id="2" name="Rectangle 2">
            <a:extLst>
              <a:ext uri="{FF2B5EF4-FFF2-40B4-BE49-F238E27FC236}">
                <a16:creationId xmlns:a16="http://schemas.microsoft.com/office/drawing/2014/main" id="{958E8666-D96A-7110-D5C5-5F3AE50CAB0E}"/>
              </a:ext>
            </a:extLst>
          </p:cNvPr>
          <p:cNvSpPr txBox="1">
            <a:spLocks noChangeArrowheads="1"/>
          </p:cNvSpPr>
          <p:nvPr/>
        </p:nvSpPr>
        <p:spPr>
          <a:xfrm>
            <a:off x="3989070" y="255635"/>
            <a:ext cx="4469943" cy="775234"/>
          </a:xfrm>
          <a:prstGeom prst="rect">
            <a:avLst/>
          </a:prstGeom>
          <a:solidFill>
            <a:schemeClr val="bg1"/>
          </a:solidFill>
        </p:spPr>
        <p:txBody>
          <a:bodyPr/>
          <a:lst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a:lstStyle>
          <a:p>
            <a:r>
              <a:rPr lang="de-CH" altLang="en-US" sz="3600" b="1" dirty="0">
                <a:solidFill>
                  <a:srgbClr val="F49B03"/>
                </a:solidFill>
              </a:rPr>
              <a:t>Le </a:t>
            </a:r>
            <a:r>
              <a:rPr lang="de-CH" altLang="en-US" sz="3600" b="1" dirty="0" err="1">
                <a:solidFill>
                  <a:srgbClr val="F49B03"/>
                </a:solidFill>
              </a:rPr>
              <a:t>chemin</a:t>
            </a:r>
            <a:r>
              <a:rPr lang="de-CH" altLang="en-US" sz="3600" b="1" dirty="0">
                <a:solidFill>
                  <a:srgbClr val="F49B03"/>
                </a:solidFill>
              </a:rPr>
              <a:t> </a:t>
            </a:r>
            <a:r>
              <a:rPr lang="de-CH" altLang="en-US" sz="3600" b="1" dirty="0" err="1">
                <a:solidFill>
                  <a:srgbClr val="F49B03"/>
                </a:solidFill>
              </a:rPr>
              <a:t>parcouru</a:t>
            </a:r>
            <a:r>
              <a:rPr lang="de-CH" altLang="en-US" sz="3600" b="1" dirty="0">
                <a:solidFill>
                  <a:srgbClr val="F49B03"/>
                </a:solidFill>
              </a:rPr>
              <a:t>  </a:t>
            </a:r>
            <a:br>
              <a:rPr lang="de-CH" altLang="en-US" sz="3600" b="1" dirty="0">
                <a:solidFill>
                  <a:srgbClr val="F49B03"/>
                </a:solidFill>
              </a:rPr>
            </a:br>
            <a:endParaRPr lang="de-CH" altLang="en-US" sz="3600" b="1" dirty="0">
              <a:solidFill>
                <a:srgbClr val="F49B03"/>
              </a:solidFill>
            </a:endParaRPr>
          </a:p>
        </p:txBody>
      </p:sp>
    </p:spTree>
    <p:extLst>
      <p:ext uri="{BB962C8B-B14F-4D97-AF65-F5344CB8AC3E}">
        <p14:creationId xmlns:p14="http://schemas.microsoft.com/office/powerpoint/2010/main" val="2646541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789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89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7" grpId="0"/>
      <p:bldP spid="19" grpId="0"/>
      <p:bldP spid="23" grpId="0"/>
      <p:bldP spid="24" grpId="0"/>
      <p:bldP spid="3" grpId="0"/>
      <p:bldP spid="22" grpId="0"/>
      <p:bldP spid="6" grpId="0" animBg="1"/>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e 116">
            <a:extLst>
              <a:ext uri="{FF2B5EF4-FFF2-40B4-BE49-F238E27FC236}">
                <a16:creationId xmlns:a16="http://schemas.microsoft.com/office/drawing/2014/main" id="{9C4ACCE8-0E5C-6FB2-7A03-EB93087335B5}"/>
              </a:ext>
            </a:extLst>
          </p:cNvPr>
          <p:cNvGrpSpPr/>
          <p:nvPr/>
        </p:nvGrpSpPr>
        <p:grpSpPr>
          <a:xfrm>
            <a:off x="6096001" y="1781169"/>
            <a:ext cx="5737238" cy="4818072"/>
            <a:chOff x="10981" y="964716"/>
            <a:chExt cx="7215936" cy="5480932"/>
          </a:xfrm>
        </p:grpSpPr>
        <p:pic>
          <p:nvPicPr>
            <p:cNvPr id="118" name="Picture 7">
              <a:extLst>
                <a:ext uri="{FF2B5EF4-FFF2-40B4-BE49-F238E27FC236}">
                  <a16:creationId xmlns:a16="http://schemas.microsoft.com/office/drawing/2014/main" id="{4E5A80FA-9A70-EEE1-8B06-BBAE94273B3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5189" r="5316"/>
            <a:stretch/>
          </p:blipFill>
          <p:spPr>
            <a:xfrm>
              <a:off x="72529" y="964716"/>
              <a:ext cx="7154388" cy="5480932"/>
            </a:xfrm>
            <a:prstGeom prst="rect">
              <a:avLst/>
            </a:prstGeom>
          </p:spPr>
        </p:pic>
        <p:sp>
          <p:nvSpPr>
            <p:cNvPr id="119" name="TextBox 462">
              <a:extLst>
                <a:ext uri="{FF2B5EF4-FFF2-40B4-BE49-F238E27FC236}">
                  <a16:creationId xmlns:a16="http://schemas.microsoft.com/office/drawing/2014/main" id="{99566A3B-E0C9-A324-1B75-AB9D8207153C}"/>
                </a:ext>
              </a:extLst>
            </p:cNvPr>
            <p:cNvSpPr txBox="1"/>
            <p:nvPr/>
          </p:nvSpPr>
          <p:spPr>
            <a:xfrm>
              <a:off x="10981" y="1060864"/>
              <a:ext cx="2095285" cy="580944"/>
            </a:xfrm>
            <a:prstGeom prst="rect">
              <a:avLst/>
            </a:prstGeom>
            <a:noFill/>
          </p:spPr>
          <p:txBody>
            <a:bodyPr wrap="square" rtlCol="0">
              <a:spAutoFit/>
            </a:bodyPr>
            <a:lstStyle/>
            <a:p>
              <a:pPr defTabSz="914377">
                <a:defRPr/>
              </a:pPr>
              <a:r>
                <a:rPr lang="en-US" sz="1400" b="1" dirty="0">
                  <a:solidFill>
                    <a:prstClr val="black"/>
                  </a:solidFill>
                  <a:latin typeface="Calibri" panose="020F0502020204030204"/>
                </a:rPr>
                <a:t>Afghanistan: n = 2</a:t>
              </a:r>
            </a:p>
            <a:p>
              <a:pPr defTabSz="914377">
                <a:defRPr/>
              </a:pPr>
              <a:r>
                <a:rPr lang="en-US" sz="1400" b="1" dirty="0">
                  <a:solidFill>
                    <a:prstClr val="black"/>
                  </a:solidFill>
                  <a:latin typeface="Calibri" panose="020F0502020204030204"/>
                </a:rPr>
                <a:t>Pakistan: n = 20</a:t>
              </a:r>
            </a:p>
          </p:txBody>
        </p:sp>
        <p:sp>
          <p:nvSpPr>
            <p:cNvPr id="120" name="TextBox 463">
              <a:extLst>
                <a:ext uri="{FF2B5EF4-FFF2-40B4-BE49-F238E27FC236}">
                  <a16:creationId xmlns:a16="http://schemas.microsoft.com/office/drawing/2014/main" id="{874A8FE2-E18A-9209-0180-53867D08E966}"/>
                </a:ext>
              </a:extLst>
            </p:cNvPr>
            <p:cNvSpPr txBox="1"/>
            <p:nvPr/>
          </p:nvSpPr>
          <p:spPr>
            <a:xfrm>
              <a:off x="5178005" y="1004239"/>
              <a:ext cx="2032741" cy="461665"/>
            </a:xfrm>
            <a:prstGeom prst="rect">
              <a:avLst/>
            </a:prstGeom>
            <a:solidFill>
              <a:schemeClr val="bg1"/>
            </a:solidFill>
          </p:spPr>
          <p:txBody>
            <a:bodyPr wrap="square" rtlCol="0">
              <a:spAutoFit/>
            </a:bodyPr>
            <a:lstStyle/>
            <a:p>
              <a:pPr algn="ctr" defTabSz="914377">
                <a:defRPr/>
              </a:pPr>
              <a:r>
                <a:rPr lang="en-US" sz="2400" b="1" dirty="0">
                  <a:solidFill>
                    <a:prstClr val="black"/>
                  </a:solidFill>
                  <a:latin typeface="Calibri" panose="020F0502020204030204"/>
                </a:rPr>
                <a:t>2022 </a:t>
              </a:r>
            </a:p>
          </p:txBody>
        </p:sp>
        <p:sp>
          <p:nvSpPr>
            <p:cNvPr id="121" name="TextBox 11">
              <a:extLst>
                <a:ext uri="{FF2B5EF4-FFF2-40B4-BE49-F238E27FC236}">
                  <a16:creationId xmlns:a16="http://schemas.microsoft.com/office/drawing/2014/main" id="{E399CC93-6230-BE3D-27A7-95D500AD9C0F}"/>
                </a:ext>
              </a:extLst>
            </p:cNvPr>
            <p:cNvSpPr txBox="1"/>
            <p:nvPr/>
          </p:nvSpPr>
          <p:spPr>
            <a:xfrm>
              <a:off x="4827642" y="4784829"/>
              <a:ext cx="2078159" cy="580944"/>
            </a:xfrm>
            <a:prstGeom prst="rect">
              <a:avLst/>
            </a:prstGeom>
            <a:solidFill>
              <a:schemeClr val="bg1">
                <a:lumMod val="65000"/>
              </a:schemeClr>
            </a:solidFill>
          </p:spPr>
          <p:txBody>
            <a:bodyPr wrap="square" rtlCol="0">
              <a:spAutoFit/>
            </a:bodyPr>
            <a:lstStyle/>
            <a:p>
              <a:pPr>
                <a:defRPr/>
              </a:pPr>
              <a:r>
                <a:rPr lang="en-US" sz="1400" b="1" kern="0" dirty="0">
                  <a:solidFill>
                    <a:srgbClr val="00FFFF"/>
                  </a:solidFill>
                  <a:latin typeface="Calibri" panose="020F0502020204030204" pitchFamily="34" charset="0"/>
                  <a:cs typeface="Calibri" panose="020F0502020204030204" pitchFamily="34" charset="0"/>
                </a:rPr>
                <a:t>Bleu </a:t>
              </a:r>
              <a:r>
                <a:rPr lang="en-US" sz="1400" b="1" kern="0" dirty="0" err="1">
                  <a:solidFill>
                    <a:srgbClr val="00FFFF"/>
                  </a:solidFill>
                  <a:latin typeface="Calibri" panose="020F0502020204030204" pitchFamily="34" charset="0"/>
                  <a:cs typeface="Calibri" panose="020F0502020204030204" pitchFamily="34" charset="0"/>
                </a:rPr>
                <a:t>clair</a:t>
              </a:r>
              <a:r>
                <a:rPr lang="en-US" sz="1400" b="1" kern="0" dirty="0">
                  <a:solidFill>
                    <a:srgbClr val="00FFFF"/>
                  </a:solidFill>
                  <a:latin typeface="Calibri" panose="020F0502020204030204" pitchFamily="34" charset="0"/>
                  <a:cs typeface="Calibri" panose="020F0502020204030204" pitchFamily="34" charset="0"/>
                </a:rPr>
                <a:t> = YB3A</a:t>
              </a:r>
            </a:p>
            <a:p>
              <a:pPr>
                <a:defRPr/>
              </a:pPr>
              <a:r>
                <a:rPr lang="en-US" sz="1400" b="1" kern="0" dirty="0">
                  <a:solidFill>
                    <a:srgbClr val="1909E7"/>
                  </a:solidFill>
                  <a:latin typeface="Calibri" panose="020F0502020204030204" pitchFamily="34" charset="0"/>
                  <a:cs typeface="Calibri" panose="020F0502020204030204" pitchFamily="34" charset="0"/>
                </a:rPr>
                <a:t>Bleu </a:t>
              </a:r>
              <a:r>
                <a:rPr lang="en-US" sz="1400" b="1" kern="0" dirty="0" err="1">
                  <a:solidFill>
                    <a:srgbClr val="1909E7"/>
                  </a:solidFill>
                  <a:latin typeface="Calibri" panose="020F0502020204030204" pitchFamily="34" charset="0"/>
                  <a:cs typeface="Calibri" panose="020F0502020204030204" pitchFamily="34" charset="0"/>
                </a:rPr>
                <a:t>foncé</a:t>
              </a:r>
              <a:r>
                <a:rPr lang="en-US" sz="1400" b="1" kern="0" dirty="0">
                  <a:solidFill>
                    <a:srgbClr val="1909E7"/>
                  </a:solidFill>
                  <a:latin typeface="Calibri" panose="020F0502020204030204" pitchFamily="34" charset="0"/>
                  <a:cs typeface="Calibri" panose="020F0502020204030204" pitchFamily="34" charset="0"/>
                </a:rPr>
                <a:t> = YB3C</a:t>
              </a:r>
            </a:p>
          </p:txBody>
        </p:sp>
        <p:pic>
          <p:nvPicPr>
            <p:cNvPr id="124" name="Graphic 14">
              <a:extLst>
                <a:ext uri="{FF2B5EF4-FFF2-40B4-BE49-F238E27FC236}">
                  <a16:creationId xmlns:a16="http://schemas.microsoft.com/office/drawing/2014/main" id="{D953FE10-2A0A-56EA-9A6D-6CBE791F25F6}"/>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2871145" y="3092048"/>
              <a:ext cx="109728" cy="137160"/>
            </a:xfrm>
            <a:prstGeom prst="rect">
              <a:avLst/>
            </a:prstGeom>
          </p:spPr>
        </p:pic>
        <p:pic>
          <p:nvPicPr>
            <p:cNvPr id="125" name="Graphic 15">
              <a:extLst>
                <a:ext uri="{FF2B5EF4-FFF2-40B4-BE49-F238E27FC236}">
                  <a16:creationId xmlns:a16="http://schemas.microsoft.com/office/drawing/2014/main" id="{DA9AA1CC-0D91-F061-8F68-45417E17FDE7}"/>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3722045" y="2982876"/>
              <a:ext cx="109728" cy="137160"/>
            </a:xfrm>
            <a:prstGeom prst="rect">
              <a:avLst/>
            </a:prstGeom>
          </p:spPr>
        </p:pic>
        <p:pic>
          <p:nvPicPr>
            <p:cNvPr id="126" name="Graphic 16">
              <a:extLst>
                <a:ext uri="{FF2B5EF4-FFF2-40B4-BE49-F238E27FC236}">
                  <a16:creationId xmlns:a16="http://schemas.microsoft.com/office/drawing/2014/main" id="{E1496E5C-FC75-28C2-A282-493552E595EF}"/>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3680981" y="2994334"/>
              <a:ext cx="109728" cy="137160"/>
            </a:xfrm>
            <a:prstGeom prst="rect">
              <a:avLst/>
            </a:prstGeom>
          </p:spPr>
        </p:pic>
        <p:pic>
          <p:nvPicPr>
            <p:cNvPr id="127" name="Graphic 17">
              <a:extLst>
                <a:ext uri="{FF2B5EF4-FFF2-40B4-BE49-F238E27FC236}">
                  <a16:creationId xmlns:a16="http://schemas.microsoft.com/office/drawing/2014/main" id="{91CF2CCC-5392-47B6-53C3-F87001535B4B}"/>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88954" y="3035044"/>
              <a:ext cx="132358" cy="137160"/>
            </a:xfrm>
            <a:prstGeom prst="rect">
              <a:avLst/>
            </a:prstGeom>
          </p:spPr>
        </p:pic>
        <p:pic>
          <p:nvPicPr>
            <p:cNvPr id="128" name="Graphic 18">
              <a:extLst>
                <a:ext uri="{FF2B5EF4-FFF2-40B4-BE49-F238E27FC236}">
                  <a16:creationId xmlns:a16="http://schemas.microsoft.com/office/drawing/2014/main" id="{D7FF50A2-1498-33D6-5978-149C3B013DB2}"/>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35334" y="3005792"/>
              <a:ext cx="132358" cy="137160"/>
            </a:xfrm>
            <a:prstGeom prst="rect">
              <a:avLst/>
            </a:prstGeom>
          </p:spPr>
        </p:pic>
        <p:pic>
          <p:nvPicPr>
            <p:cNvPr id="129" name="Graphic 19">
              <a:extLst>
                <a:ext uri="{FF2B5EF4-FFF2-40B4-BE49-F238E27FC236}">
                  <a16:creationId xmlns:a16="http://schemas.microsoft.com/office/drawing/2014/main" id="{05082857-A4CE-7402-7DB0-A9471BAA2170}"/>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43307" y="3051456"/>
              <a:ext cx="132358" cy="137160"/>
            </a:xfrm>
            <a:prstGeom prst="rect">
              <a:avLst/>
            </a:prstGeom>
          </p:spPr>
        </p:pic>
        <p:pic>
          <p:nvPicPr>
            <p:cNvPr id="130" name="Graphic 20">
              <a:extLst>
                <a:ext uri="{FF2B5EF4-FFF2-40B4-BE49-F238E27FC236}">
                  <a16:creationId xmlns:a16="http://schemas.microsoft.com/office/drawing/2014/main" id="{7045ACEF-3EF3-5F58-24C9-E806C90D299F}"/>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91453" y="2980394"/>
              <a:ext cx="132358" cy="137160"/>
            </a:xfrm>
            <a:prstGeom prst="rect">
              <a:avLst/>
            </a:prstGeom>
          </p:spPr>
        </p:pic>
        <p:pic>
          <p:nvPicPr>
            <p:cNvPr id="131" name="Graphic 21">
              <a:extLst>
                <a:ext uri="{FF2B5EF4-FFF2-40B4-BE49-F238E27FC236}">
                  <a16:creationId xmlns:a16="http://schemas.microsoft.com/office/drawing/2014/main" id="{39B96629-06B2-008F-AE0B-35CA9E862A7B}"/>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64604" y="2991852"/>
              <a:ext cx="132358" cy="137160"/>
            </a:xfrm>
            <a:prstGeom prst="rect">
              <a:avLst/>
            </a:prstGeom>
          </p:spPr>
        </p:pic>
        <p:pic>
          <p:nvPicPr>
            <p:cNvPr id="132" name="Graphic 22">
              <a:extLst>
                <a:ext uri="{FF2B5EF4-FFF2-40B4-BE49-F238E27FC236}">
                  <a16:creationId xmlns:a16="http://schemas.microsoft.com/office/drawing/2014/main" id="{BF51EC93-B46F-507C-E3A0-A6D4E7478A8E}"/>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48538" y="2994186"/>
              <a:ext cx="132358" cy="137160"/>
            </a:xfrm>
            <a:prstGeom prst="rect">
              <a:avLst/>
            </a:prstGeom>
          </p:spPr>
        </p:pic>
        <p:pic>
          <p:nvPicPr>
            <p:cNvPr id="133" name="Graphic 23">
              <a:extLst>
                <a:ext uri="{FF2B5EF4-FFF2-40B4-BE49-F238E27FC236}">
                  <a16:creationId xmlns:a16="http://schemas.microsoft.com/office/drawing/2014/main" id="{8C44F07F-A2B5-2B78-F5C5-605E24F44813}"/>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585007" y="3000749"/>
              <a:ext cx="132358" cy="137160"/>
            </a:xfrm>
            <a:prstGeom prst="rect">
              <a:avLst/>
            </a:prstGeom>
          </p:spPr>
        </p:pic>
        <p:pic>
          <p:nvPicPr>
            <p:cNvPr id="134" name="Graphic 24">
              <a:extLst>
                <a:ext uri="{FF2B5EF4-FFF2-40B4-BE49-F238E27FC236}">
                  <a16:creationId xmlns:a16="http://schemas.microsoft.com/office/drawing/2014/main" id="{AFCD9029-BB8D-0BF1-4848-F1BCE32BA72A}"/>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52300" y="3035044"/>
              <a:ext cx="132358" cy="137160"/>
            </a:xfrm>
            <a:prstGeom prst="rect">
              <a:avLst/>
            </a:prstGeom>
          </p:spPr>
        </p:pic>
        <p:pic>
          <p:nvPicPr>
            <p:cNvPr id="135" name="Graphic 25">
              <a:extLst>
                <a:ext uri="{FF2B5EF4-FFF2-40B4-BE49-F238E27FC236}">
                  <a16:creationId xmlns:a16="http://schemas.microsoft.com/office/drawing/2014/main" id="{A30D070E-EC68-CAAA-CA01-EFDB3C6A9BF0}"/>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47036" y="3000748"/>
              <a:ext cx="132358" cy="137160"/>
            </a:xfrm>
            <a:prstGeom prst="rect">
              <a:avLst/>
            </a:prstGeom>
          </p:spPr>
        </p:pic>
        <p:pic>
          <p:nvPicPr>
            <p:cNvPr id="136" name="Graphic 26">
              <a:extLst>
                <a:ext uri="{FF2B5EF4-FFF2-40B4-BE49-F238E27FC236}">
                  <a16:creationId xmlns:a16="http://schemas.microsoft.com/office/drawing/2014/main" id="{BBD859F7-DAF3-2146-8253-61E9DD9B7557}"/>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553627" y="3005662"/>
              <a:ext cx="132358" cy="137160"/>
            </a:xfrm>
            <a:prstGeom prst="rect">
              <a:avLst/>
            </a:prstGeom>
          </p:spPr>
        </p:pic>
        <p:pic>
          <p:nvPicPr>
            <p:cNvPr id="137" name="Graphic 27">
              <a:extLst>
                <a:ext uri="{FF2B5EF4-FFF2-40B4-BE49-F238E27FC236}">
                  <a16:creationId xmlns:a16="http://schemas.microsoft.com/office/drawing/2014/main" id="{F4A5B732-D570-075A-3A2C-11404526B26C}"/>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900306" y="3103624"/>
              <a:ext cx="132358" cy="137160"/>
            </a:xfrm>
            <a:prstGeom prst="rect">
              <a:avLst/>
            </a:prstGeom>
          </p:spPr>
        </p:pic>
        <p:pic>
          <p:nvPicPr>
            <p:cNvPr id="138" name="Graphic 28">
              <a:extLst>
                <a:ext uri="{FF2B5EF4-FFF2-40B4-BE49-F238E27FC236}">
                  <a16:creationId xmlns:a16="http://schemas.microsoft.com/office/drawing/2014/main" id="{AFF96E12-74DE-C638-F960-EA0CE21E457B}"/>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590392" y="3039026"/>
              <a:ext cx="132358" cy="137160"/>
            </a:xfrm>
            <a:prstGeom prst="rect">
              <a:avLst/>
            </a:prstGeom>
          </p:spPr>
        </p:pic>
        <p:pic>
          <p:nvPicPr>
            <p:cNvPr id="139" name="Graphic 1">
              <a:extLst>
                <a:ext uri="{FF2B5EF4-FFF2-40B4-BE49-F238E27FC236}">
                  <a16:creationId xmlns:a16="http://schemas.microsoft.com/office/drawing/2014/main" id="{07AC7D7E-F9ED-128D-1630-B356FE9AA1DF}"/>
                </a:ext>
              </a:extLst>
            </p:cNvPr>
            <p:cNvPicPr preferRelativeResize="0">
              <a:picLocks/>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3675852" y="2934724"/>
              <a:ext cx="132358" cy="137160"/>
            </a:xfrm>
            <a:prstGeom prst="rect">
              <a:avLst/>
            </a:prstGeom>
          </p:spPr>
        </p:pic>
        <p:pic>
          <p:nvPicPr>
            <p:cNvPr id="140" name="Graphic 2">
              <a:extLst>
                <a:ext uri="{FF2B5EF4-FFF2-40B4-BE49-F238E27FC236}">
                  <a16:creationId xmlns:a16="http://schemas.microsoft.com/office/drawing/2014/main" id="{08C7DE80-0B41-4BAF-76B1-C48D24C13694}"/>
                </a:ext>
              </a:extLst>
            </p:cNvPr>
            <p:cNvPicPr preferRelativeResize="0">
              <a:picLocks/>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3603542" y="2970446"/>
              <a:ext cx="132358" cy="137160"/>
            </a:xfrm>
            <a:prstGeom prst="rect">
              <a:avLst/>
            </a:prstGeom>
          </p:spPr>
        </p:pic>
        <p:pic>
          <p:nvPicPr>
            <p:cNvPr id="141" name="Graphic 3">
              <a:extLst>
                <a:ext uri="{FF2B5EF4-FFF2-40B4-BE49-F238E27FC236}">
                  <a16:creationId xmlns:a16="http://schemas.microsoft.com/office/drawing/2014/main" id="{AEFA540C-84DA-CF68-4663-B30739E4C36A}"/>
                </a:ext>
              </a:extLst>
            </p:cNvPr>
            <p:cNvPicPr preferRelativeResize="0">
              <a:picLocks/>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3857562" y="3116434"/>
              <a:ext cx="132358" cy="137160"/>
            </a:xfrm>
            <a:prstGeom prst="rect">
              <a:avLst/>
            </a:prstGeom>
          </p:spPr>
        </p:pic>
        <p:pic>
          <p:nvPicPr>
            <p:cNvPr id="142" name="Graphic 4">
              <a:extLst>
                <a:ext uri="{FF2B5EF4-FFF2-40B4-BE49-F238E27FC236}">
                  <a16:creationId xmlns:a16="http://schemas.microsoft.com/office/drawing/2014/main" id="{10377906-08BD-71D5-76AB-23DA92C57BFF}"/>
                </a:ext>
              </a:extLst>
            </p:cNvPr>
            <p:cNvPicPr preferRelativeResize="0">
              <a:picLocks/>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3640598" y="3016612"/>
              <a:ext cx="132358" cy="137160"/>
            </a:xfrm>
            <a:prstGeom prst="rect">
              <a:avLst/>
            </a:prstGeom>
          </p:spPr>
        </p:pic>
        <p:pic>
          <p:nvPicPr>
            <p:cNvPr id="143" name="Graphic 29">
              <a:extLst>
                <a:ext uri="{FF2B5EF4-FFF2-40B4-BE49-F238E27FC236}">
                  <a16:creationId xmlns:a16="http://schemas.microsoft.com/office/drawing/2014/main" id="{8FC62435-A26F-200A-1413-4A6A00530613}"/>
                </a:ext>
              </a:extLst>
            </p:cNvPr>
            <p:cNvPicPr preferRelativeResize="0">
              <a:picLocks/>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flipH="1">
              <a:off x="3937914" y="2256618"/>
              <a:ext cx="132358" cy="137160"/>
            </a:xfrm>
            <a:prstGeom prst="rect">
              <a:avLst/>
            </a:prstGeom>
          </p:spPr>
        </p:pic>
        <p:pic>
          <p:nvPicPr>
            <p:cNvPr id="144" name="Graphic 447">
              <a:extLst>
                <a:ext uri="{FF2B5EF4-FFF2-40B4-BE49-F238E27FC236}">
                  <a16:creationId xmlns:a16="http://schemas.microsoft.com/office/drawing/2014/main" id="{B2728C50-08D0-3D02-FDBF-57FD1F83FE43}"/>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532092" y="3122006"/>
              <a:ext cx="132358" cy="137160"/>
            </a:xfrm>
            <a:prstGeom prst="rect">
              <a:avLst/>
            </a:prstGeom>
          </p:spPr>
        </p:pic>
        <p:pic>
          <p:nvPicPr>
            <p:cNvPr id="145" name="Graphic 5">
              <a:extLst>
                <a:ext uri="{FF2B5EF4-FFF2-40B4-BE49-F238E27FC236}">
                  <a16:creationId xmlns:a16="http://schemas.microsoft.com/office/drawing/2014/main" id="{C5A12528-3E7B-896B-8618-5E0FBA07C803}"/>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flipH="1">
              <a:off x="3614198" y="2969865"/>
              <a:ext cx="132358" cy="137160"/>
            </a:xfrm>
            <a:prstGeom prst="rect">
              <a:avLst/>
            </a:prstGeom>
          </p:spPr>
        </p:pic>
      </p:grpSp>
      <p:pic>
        <p:nvPicPr>
          <p:cNvPr id="2" name="Image 1" descr="Une image contenant texte, clipart&#10;&#10;Description générée automatiquement">
            <a:extLst>
              <a:ext uri="{FF2B5EF4-FFF2-40B4-BE49-F238E27FC236}">
                <a16:creationId xmlns:a16="http://schemas.microsoft.com/office/drawing/2014/main" id="{63CAD5BD-5D81-92AE-1600-E95D57D43DF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777637" y="20892"/>
            <a:ext cx="2330649" cy="1070927"/>
          </a:xfrm>
          <a:prstGeom prst="rect">
            <a:avLst/>
          </a:prstGeom>
        </p:spPr>
      </p:pic>
      <p:sp>
        <p:nvSpPr>
          <p:cNvPr id="9" name="ZoneTexte 8">
            <a:extLst>
              <a:ext uri="{FF2B5EF4-FFF2-40B4-BE49-F238E27FC236}">
                <a16:creationId xmlns:a16="http://schemas.microsoft.com/office/drawing/2014/main" id="{7C817B67-98B4-4D7E-93F9-E8F4496FD896}"/>
              </a:ext>
            </a:extLst>
          </p:cNvPr>
          <p:cNvSpPr txBox="1"/>
          <p:nvPr/>
        </p:nvSpPr>
        <p:spPr>
          <a:xfrm>
            <a:off x="914400" y="336765"/>
            <a:ext cx="10363200" cy="954107"/>
          </a:xfrm>
          <a:prstGeom prst="rect">
            <a:avLst/>
          </a:prstGeom>
          <a:noFill/>
        </p:spPr>
        <p:txBody>
          <a:bodyPr wrap="square" rtlCol="0">
            <a:spAutoFit/>
          </a:bodyPr>
          <a:lstStyle/>
          <a:p>
            <a:pPr algn="ctr"/>
            <a:r>
              <a:rPr lang="fr-FR" sz="2800" b="1" dirty="0"/>
              <a:t>Pakistan – Afghanistan </a:t>
            </a:r>
          </a:p>
          <a:p>
            <a:pPr algn="ctr"/>
            <a:r>
              <a:rPr lang="fr-FR" sz="2800" b="1" dirty="0"/>
              <a:t>Les derniers soubresauts du virus sauvage </a:t>
            </a:r>
          </a:p>
        </p:txBody>
      </p:sp>
      <p:sp>
        <p:nvSpPr>
          <p:cNvPr id="11" name="Espace réservé du numéro de diapositive 3">
            <a:extLst>
              <a:ext uri="{FF2B5EF4-FFF2-40B4-BE49-F238E27FC236}">
                <a16:creationId xmlns:a16="http://schemas.microsoft.com/office/drawing/2014/main" id="{D0133830-1603-43C8-9BD9-E20DB15195CE}"/>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4</a:t>
            </a:fld>
            <a:endParaRPr lang="en-GB"/>
          </a:p>
        </p:txBody>
      </p:sp>
      <p:pic>
        <p:nvPicPr>
          <p:cNvPr id="4" name="Image 3">
            <a:extLst>
              <a:ext uri="{FF2B5EF4-FFF2-40B4-BE49-F238E27FC236}">
                <a16:creationId xmlns:a16="http://schemas.microsoft.com/office/drawing/2014/main" id="{C4C830E8-A77D-1CB4-09C9-5C68B391F8A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242" y="159324"/>
            <a:ext cx="1030316" cy="1308987"/>
          </a:xfrm>
          <a:prstGeom prst="rect">
            <a:avLst/>
          </a:prstGeom>
        </p:spPr>
      </p:pic>
      <p:grpSp>
        <p:nvGrpSpPr>
          <p:cNvPr id="5" name="Groupe 4">
            <a:extLst>
              <a:ext uri="{FF2B5EF4-FFF2-40B4-BE49-F238E27FC236}">
                <a16:creationId xmlns:a16="http://schemas.microsoft.com/office/drawing/2014/main" id="{E9D07F00-0EF1-2435-6959-A2D90DDE775A}"/>
              </a:ext>
            </a:extLst>
          </p:cNvPr>
          <p:cNvGrpSpPr/>
          <p:nvPr/>
        </p:nvGrpSpPr>
        <p:grpSpPr>
          <a:xfrm>
            <a:off x="6112656" y="1819600"/>
            <a:ext cx="5995630" cy="4661586"/>
            <a:chOff x="10981" y="964716"/>
            <a:chExt cx="7282963" cy="5480932"/>
          </a:xfrm>
        </p:grpSpPr>
        <p:pic>
          <p:nvPicPr>
            <p:cNvPr id="12" name="Picture 2">
              <a:extLst>
                <a:ext uri="{FF2B5EF4-FFF2-40B4-BE49-F238E27FC236}">
                  <a16:creationId xmlns:a16="http://schemas.microsoft.com/office/drawing/2014/main" id="{70C3C84F-E706-CD7C-7E9D-9D8210B38B9E}"/>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l="5189" r="5316"/>
            <a:stretch/>
          </p:blipFill>
          <p:spPr>
            <a:xfrm>
              <a:off x="72529" y="964716"/>
              <a:ext cx="7154388" cy="5480932"/>
            </a:xfrm>
            <a:prstGeom prst="rect">
              <a:avLst/>
            </a:prstGeom>
          </p:spPr>
        </p:pic>
        <p:sp>
          <p:nvSpPr>
            <p:cNvPr id="39" name="TextBox 462">
              <a:extLst>
                <a:ext uri="{FF2B5EF4-FFF2-40B4-BE49-F238E27FC236}">
                  <a16:creationId xmlns:a16="http://schemas.microsoft.com/office/drawing/2014/main" id="{DC46F640-8B5A-75FD-E392-327983242EB5}"/>
                </a:ext>
              </a:extLst>
            </p:cNvPr>
            <p:cNvSpPr txBox="1"/>
            <p:nvPr/>
          </p:nvSpPr>
          <p:spPr>
            <a:xfrm>
              <a:off x="10981" y="1060864"/>
              <a:ext cx="2077938" cy="624206"/>
            </a:xfrm>
            <a:prstGeom prst="rect">
              <a:avLst/>
            </a:prstGeom>
            <a:noFill/>
          </p:spPr>
          <p:txBody>
            <a:bodyPr wrap="square" rtlCol="0">
              <a:spAutoFit/>
            </a:bodyPr>
            <a:lstStyle/>
            <a:p>
              <a:pPr defTabSz="914377">
                <a:defRPr/>
              </a:pPr>
              <a:r>
                <a:rPr lang="en-US" sz="1400" b="1" dirty="0">
                  <a:solidFill>
                    <a:prstClr val="black"/>
                  </a:solidFill>
                  <a:latin typeface="Calibri" panose="020F0502020204030204"/>
                </a:rPr>
                <a:t>Afghanistan: n = 5</a:t>
              </a:r>
            </a:p>
            <a:p>
              <a:pPr defTabSz="914377">
                <a:defRPr/>
              </a:pPr>
              <a:r>
                <a:rPr lang="en-US" sz="1400" b="1" dirty="0">
                  <a:solidFill>
                    <a:prstClr val="black"/>
                  </a:solidFill>
                  <a:latin typeface="Calibri" panose="020F0502020204030204"/>
                </a:rPr>
                <a:t>Pakistan: n = 2</a:t>
              </a:r>
            </a:p>
          </p:txBody>
        </p:sp>
        <p:sp>
          <p:nvSpPr>
            <p:cNvPr id="40" name="TextBox 463">
              <a:extLst>
                <a:ext uri="{FF2B5EF4-FFF2-40B4-BE49-F238E27FC236}">
                  <a16:creationId xmlns:a16="http://schemas.microsoft.com/office/drawing/2014/main" id="{E4015F25-C7B3-3296-2B0D-FD26A10C3E62}"/>
                </a:ext>
              </a:extLst>
            </p:cNvPr>
            <p:cNvSpPr txBox="1"/>
            <p:nvPr/>
          </p:nvSpPr>
          <p:spPr>
            <a:xfrm>
              <a:off x="5159682" y="1044145"/>
              <a:ext cx="2134262" cy="470436"/>
            </a:xfrm>
            <a:prstGeom prst="rect">
              <a:avLst/>
            </a:prstGeom>
            <a:solidFill>
              <a:schemeClr val="bg1"/>
            </a:solidFill>
          </p:spPr>
          <p:txBody>
            <a:bodyPr wrap="square" rtlCol="0">
              <a:spAutoFit/>
            </a:bodyPr>
            <a:lstStyle/>
            <a:p>
              <a:pPr algn="ctr" defTabSz="914377">
                <a:defRPr/>
              </a:pPr>
              <a:r>
                <a:rPr lang="en-US" sz="2000" b="1" dirty="0">
                  <a:solidFill>
                    <a:prstClr val="black"/>
                  </a:solidFill>
                  <a:latin typeface="Calibri" panose="020F0502020204030204"/>
                </a:rPr>
                <a:t>2023 </a:t>
              </a:r>
              <a:r>
                <a:rPr lang="en-US" sz="1600" dirty="0">
                  <a:solidFill>
                    <a:prstClr val="black"/>
                  </a:solidFill>
                  <a:latin typeface="Calibri" panose="020F0502020204030204"/>
                </a:rPr>
                <a:t>(27/08)</a:t>
              </a:r>
              <a:endParaRPr lang="en-US" sz="2000" dirty="0">
                <a:solidFill>
                  <a:prstClr val="black"/>
                </a:solidFill>
                <a:latin typeface="Calibri" panose="020F0502020204030204"/>
              </a:endParaRPr>
            </a:p>
          </p:txBody>
        </p:sp>
        <p:pic>
          <p:nvPicPr>
            <p:cNvPr id="43" name="Graphic 3">
              <a:extLst>
                <a:ext uri="{FF2B5EF4-FFF2-40B4-BE49-F238E27FC236}">
                  <a16:creationId xmlns:a16="http://schemas.microsoft.com/office/drawing/2014/main" id="{478A131B-D3E7-F679-4585-B5C043B893F3}"/>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3878927" y="2977580"/>
              <a:ext cx="109728" cy="137160"/>
            </a:xfrm>
            <a:prstGeom prst="rect">
              <a:avLst/>
            </a:prstGeom>
          </p:spPr>
        </p:pic>
        <p:sp>
          <p:nvSpPr>
            <p:cNvPr id="44" name="TextBox 4">
              <a:extLst>
                <a:ext uri="{FF2B5EF4-FFF2-40B4-BE49-F238E27FC236}">
                  <a16:creationId xmlns:a16="http://schemas.microsoft.com/office/drawing/2014/main" id="{09184EE8-79A6-2DF2-6A30-1540BE236B75}"/>
                </a:ext>
              </a:extLst>
            </p:cNvPr>
            <p:cNvSpPr txBox="1"/>
            <p:nvPr/>
          </p:nvSpPr>
          <p:spPr>
            <a:xfrm>
              <a:off x="4961151" y="4804580"/>
              <a:ext cx="1955793" cy="615184"/>
            </a:xfrm>
            <a:prstGeom prst="rect">
              <a:avLst/>
            </a:prstGeom>
            <a:solidFill>
              <a:schemeClr val="bg1">
                <a:lumMod val="65000"/>
              </a:schemeClr>
            </a:solidFill>
          </p:spPr>
          <p:txBody>
            <a:bodyPr wrap="square" rtlCol="0">
              <a:spAutoFit/>
            </a:bodyPr>
            <a:lstStyle/>
            <a:p>
              <a:pPr>
                <a:defRPr/>
              </a:pPr>
              <a:r>
                <a:rPr lang="en-US" sz="1400" b="1" kern="0" dirty="0">
                  <a:solidFill>
                    <a:srgbClr val="00FFFF"/>
                  </a:solidFill>
                  <a:latin typeface="Calibri" panose="020F0502020204030204" pitchFamily="34" charset="0"/>
                  <a:cs typeface="Calibri" panose="020F0502020204030204" pitchFamily="34" charset="0"/>
                </a:rPr>
                <a:t>Bleu Clair  = YB3A</a:t>
              </a:r>
            </a:p>
            <a:p>
              <a:pPr>
                <a:defRPr/>
              </a:pPr>
              <a:r>
                <a:rPr lang="en-US" sz="1400" b="1" kern="0" dirty="0">
                  <a:solidFill>
                    <a:srgbClr val="1909E7"/>
                  </a:solidFill>
                  <a:latin typeface="Calibri" panose="020F0502020204030204" pitchFamily="34" charset="0"/>
                  <a:cs typeface="Calibri" panose="020F0502020204030204" pitchFamily="34" charset="0"/>
                </a:rPr>
                <a:t>Bleu </a:t>
              </a:r>
              <a:r>
                <a:rPr lang="en-US" sz="1400" b="1" kern="0" dirty="0" err="1">
                  <a:solidFill>
                    <a:srgbClr val="1909E7"/>
                  </a:solidFill>
                  <a:latin typeface="Calibri" panose="020F0502020204030204" pitchFamily="34" charset="0"/>
                  <a:cs typeface="Calibri" panose="020F0502020204030204" pitchFamily="34" charset="0"/>
                </a:rPr>
                <a:t>foncé</a:t>
              </a:r>
              <a:r>
                <a:rPr lang="en-US" sz="1400" b="1" kern="0" dirty="0">
                  <a:solidFill>
                    <a:srgbClr val="1909E7"/>
                  </a:solidFill>
                  <a:latin typeface="Calibri" panose="020F0502020204030204" pitchFamily="34" charset="0"/>
                  <a:cs typeface="Calibri" panose="020F0502020204030204" pitchFamily="34" charset="0"/>
                </a:rPr>
                <a:t>  = YB3C</a:t>
              </a:r>
            </a:p>
          </p:txBody>
        </p:sp>
        <p:pic>
          <p:nvPicPr>
            <p:cNvPr id="45" name="Graphic 7">
              <a:extLst>
                <a:ext uri="{FF2B5EF4-FFF2-40B4-BE49-F238E27FC236}">
                  <a16:creationId xmlns:a16="http://schemas.microsoft.com/office/drawing/2014/main" id="{3A53BA25-A047-2BAB-FCB6-637710EA9132}"/>
                </a:ext>
              </a:extLst>
            </p:cNvPr>
            <p:cNvPicPr preferRelativeResize="0">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3855829" y="2543750"/>
              <a:ext cx="109728" cy="137160"/>
            </a:xfrm>
            <a:prstGeom prst="rect">
              <a:avLst/>
            </a:prstGeom>
          </p:spPr>
        </p:pic>
        <p:pic>
          <p:nvPicPr>
            <p:cNvPr id="46" name="Graphic 8">
              <a:extLst>
                <a:ext uri="{FF2B5EF4-FFF2-40B4-BE49-F238E27FC236}">
                  <a16:creationId xmlns:a16="http://schemas.microsoft.com/office/drawing/2014/main" id="{6076AD33-1C82-F6BD-0F90-4C593D143399}"/>
                </a:ext>
              </a:extLst>
            </p:cNvPr>
            <p:cNvPicPr preferRelativeResize="0">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flipH="1">
              <a:off x="3927858" y="2477600"/>
              <a:ext cx="109728" cy="137160"/>
            </a:xfrm>
            <a:prstGeom prst="rect">
              <a:avLst/>
            </a:prstGeom>
          </p:spPr>
        </p:pic>
        <p:pic>
          <p:nvPicPr>
            <p:cNvPr id="47" name="Graphic 5">
              <a:extLst>
                <a:ext uri="{FF2B5EF4-FFF2-40B4-BE49-F238E27FC236}">
                  <a16:creationId xmlns:a16="http://schemas.microsoft.com/office/drawing/2014/main" id="{F0E2652F-5817-8D1A-9E14-B971CD8218C5}"/>
                </a:ext>
              </a:extLst>
            </p:cNvPr>
            <p:cNvPicPr preferRelativeResize="0">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3971399" y="2542913"/>
              <a:ext cx="109728" cy="137160"/>
            </a:xfrm>
            <a:prstGeom prst="rect">
              <a:avLst/>
            </a:prstGeom>
          </p:spPr>
        </p:pic>
        <p:pic>
          <p:nvPicPr>
            <p:cNvPr id="48" name="Graphic 6">
              <a:extLst>
                <a:ext uri="{FF2B5EF4-FFF2-40B4-BE49-F238E27FC236}">
                  <a16:creationId xmlns:a16="http://schemas.microsoft.com/office/drawing/2014/main" id="{E1AE0CEB-A282-FEB6-97D5-FE0B231A94FC}"/>
                </a:ext>
              </a:extLst>
            </p:cNvPr>
            <p:cNvPicPr preferRelativeResize="0">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3807471" y="2435803"/>
              <a:ext cx="109728" cy="137160"/>
            </a:xfrm>
            <a:prstGeom prst="rect">
              <a:avLst/>
            </a:prstGeom>
          </p:spPr>
        </p:pic>
        <p:pic>
          <p:nvPicPr>
            <p:cNvPr id="49" name="Graphic 9">
              <a:extLst>
                <a:ext uri="{FF2B5EF4-FFF2-40B4-BE49-F238E27FC236}">
                  <a16:creationId xmlns:a16="http://schemas.microsoft.com/office/drawing/2014/main" id="{D9272DB5-DDA5-2758-909F-FE3B1E38BCC6}"/>
                </a:ext>
              </a:extLst>
            </p:cNvPr>
            <p:cNvPicPr preferRelativeResize="0">
              <a:picLocks/>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flipH="1">
              <a:off x="4020889" y="2534891"/>
              <a:ext cx="109728" cy="137160"/>
            </a:xfrm>
            <a:prstGeom prst="rect">
              <a:avLst/>
            </a:prstGeom>
          </p:spPr>
        </p:pic>
        <p:pic>
          <p:nvPicPr>
            <p:cNvPr id="50" name="Graphic 10">
              <a:extLst>
                <a:ext uri="{FF2B5EF4-FFF2-40B4-BE49-F238E27FC236}">
                  <a16:creationId xmlns:a16="http://schemas.microsoft.com/office/drawing/2014/main" id="{1FC07823-530B-4975-FD76-46310C89FE08}"/>
                </a:ext>
              </a:extLst>
            </p:cNvPr>
            <p:cNvPicPr preferRelativeResize="0">
              <a:picLocks/>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3839089" y="2998998"/>
              <a:ext cx="109728" cy="137160"/>
            </a:xfrm>
            <a:prstGeom prst="rect">
              <a:avLst/>
            </a:prstGeom>
          </p:spPr>
        </p:pic>
      </p:grpSp>
      <p:grpSp>
        <p:nvGrpSpPr>
          <p:cNvPr id="6" name="Groupe 5">
            <a:extLst>
              <a:ext uri="{FF2B5EF4-FFF2-40B4-BE49-F238E27FC236}">
                <a16:creationId xmlns:a16="http://schemas.microsoft.com/office/drawing/2014/main" id="{633E9874-3AA5-0007-2F7B-2451508425AB}"/>
              </a:ext>
            </a:extLst>
          </p:cNvPr>
          <p:cNvGrpSpPr/>
          <p:nvPr/>
        </p:nvGrpSpPr>
        <p:grpSpPr>
          <a:xfrm>
            <a:off x="74140" y="1835519"/>
            <a:ext cx="5648912" cy="4713586"/>
            <a:chOff x="202095" y="206759"/>
            <a:chExt cx="5648912" cy="4713586"/>
          </a:xfrm>
        </p:grpSpPr>
        <p:pic>
          <p:nvPicPr>
            <p:cNvPr id="3" name="Image 2" descr="Une image contenant carte&#10;&#10;Description générée automatiquement">
              <a:extLst>
                <a:ext uri="{FF2B5EF4-FFF2-40B4-BE49-F238E27FC236}">
                  <a16:creationId xmlns:a16="http://schemas.microsoft.com/office/drawing/2014/main" id="{79DDDC20-1083-4573-BC25-B1771C798EE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02095" y="206759"/>
              <a:ext cx="5648912" cy="4713586"/>
            </a:xfrm>
            <a:prstGeom prst="rect">
              <a:avLst/>
            </a:prstGeom>
          </p:spPr>
        </p:pic>
        <p:sp>
          <p:nvSpPr>
            <p:cNvPr id="54" name="TextBox 253">
              <a:extLst>
                <a:ext uri="{FF2B5EF4-FFF2-40B4-BE49-F238E27FC236}">
                  <a16:creationId xmlns:a16="http://schemas.microsoft.com/office/drawing/2014/main" id="{C3DF2E24-8BC7-CB2C-1BDD-86B386C3C8A9}"/>
                </a:ext>
              </a:extLst>
            </p:cNvPr>
            <p:cNvSpPr txBox="1"/>
            <p:nvPr/>
          </p:nvSpPr>
          <p:spPr>
            <a:xfrm>
              <a:off x="3934703" y="3429000"/>
              <a:ext cx="1818166" cy="1384995"/>
            </a:xfrm>
            <a:prstGeom prst="rect">
              <a:avLst/>
            </a:prstGeom>
            <a:solidFill>
              <a:schemeClr val="bg1">
                <a:lumMod val="65000"/>
              </a:schemeClr>
            </a:solidFill>
          </p:spPr>
          <p:txBody>
            <a:bodyPr wrap="square" rtlCol="0">
              <a:spAutoFit/>
            </a:bodyPr>
            <a:lstStyle/>
            <a:p>
              <a:pPr>
                <a:defRPr/>
              </a:pPr>
              <a:r>
                <a:rPr lang="en-US" sz="1200" b="1" kern="0" dirty="0">
                  <a:solidFill>
                    <a:srgbClr val="FF0000"/>
                  </a:solidFill>
                  <a:latin typeface="Calibri" panose="020F0502020204030204" pitchFamily="34" charset="0"/>
                  <a:cs typeface="Calibri" panose="020F0502020204030204" pitchFamily="34" charset="0"/>
                </a:rPr>
                <a:t>Rouge = R4B5C4C2</a:t>
              </a:r>
              <a:endParaRPr lang="en-US" sz="1200" b="1" kern="0" dirty="0">
                <a:solidFill>
                  <a:srgbClr val="00FFFF"/>
                </a:solidFill>
                <a:latin typeface="Calibri" panose="020F0502020204030204" pitchFamily="34" charset="0"/>
                <a:cs typeface="Calibri" panose="020F0502020204030204" pitchFamily="34" charset="0"/>
              </a:endParaRPr>
            </a:p>
            <a:p>
              <a:pPr>
                <a:defRPr/>
              </a:pPr>
              <a:r>
                <a:rPr lang="en-US" sz="1200" b="1" kern="0" dirty="0">
                  <a:solidFill>
                    <a:srgbClr val="996633"/>
                  </a:solidFill>
                  <a:latin typeface="Calibri" panose="020F0502020204030204" pitchFamily="34" charset="0"/>
                  <a:cs typeface="Calibri" panose="020F0502020204030204" pitchFamily="34" charset="0"/>
                </a:rPr>
                <a:t>Marron = R4B5C4D1</a:t>
              </a:r>
            </a:p>
            <a:p>
              <a:pPr>
                <a:defRPr/>
              </a:pPr>
              <a:r>
                <a:rPr lang="en-US" sz="1200" b="1" kern="0" dirty="0">
                  <a:solidFill>
                    <a:schemeClr val="bg1">
                      <a:lumMod val="85000"/>
                    </a:schemeClr>
                  </a:solidFill>
                  <a:latin typeface="Calibri" panose="020F0502020204030204" pitchFamily="34" charset="0"/>
                  <a:cs typeface="Calibri" panose="020F0502020204030204" pitchFamily="34" charset="0"/>
                </a:rPr>
                <a:t>Gris = R4B5C5B2A</a:t>
              </a:r>
            </a:p>
            <a:p>
              <a:pPr>
                <a:defRPr/>
              </a:pPr>
              <a:r>
                <a:rPr lang="en-US" sz="1200" b="1" kern="0" dirty="0">
                  <a:solidFill>
                    <a:srgbClr val="9900CC"/>
                  </a:solidFill>
                  <a:latin typeface="Calibri" panose="020F0502020204030204" pitchFamily="34" charset="0"/>
                  <a:cs typeface="Calibri" panose="020F0502020204030204" pitchFamily="34" charset="0"/>
                </a:rPr>
                <a:t>Violet= R4B5C5B2B2</a:t>
              </a:r>
            </a:p>
            <a:p>
              <a:pPr>
                <a:defRPr/>
              </a:pPr>
              <a:r>
                <a:rPr lang="en-US" sz="1200" b="1" kern="0" dirty="0">
                  <a:solidFill>
                    <a:srgbClr val="1909E7"/>
                  </a:solidFill>
                  <a:latin typeface="Calibri" panose="020F0502020204030204" pitchFamily="34" charset="0"/>
                  <a:cs typeface="Calibri" panose="020F0502020204030204" pitchFamily="34" charset="0"/>
                </a:rPr>
                <a:t>Bleu </a:t>
              </a:r>
              <a:r>
                <a:rPr lang="en-US" sz="1200" b="1" kern="0" dirty="0" err="1">
                  <a:solidFill>
                    <a:srgbClr val="1909E7"/>
                  </a:solidFill>
                  <a:latin typeface="Calibri" panose="020F0502020204030204" pitchFamily="34" charset="0"/>
                  <a:cs typeface="Calibri" panose="020F0502020204030204" pitchFamily="34" charset="0"/>
                </a:rPr>
                <a:t>foncé</a:t>
              </a:r>
              <a:r>
                <a:rPr lang="en-US" sz="1200" b="1" kern="0" dirty="0">
                  <a:solidFill>
                    <a:srgbClr val="1909E7"/>
                  </a:solidFill>
                  <a:latin typeface="Calibri" panose="020F0502020204030204" pitchFamily="34" charset="0"/>
                  <a:cs typeface="Calibri" panose="020F0502020204030204" pitchFamily="34" charset="0"/>
                </a:rPr>
                <a:t> = R4B5C5B2B3</a:t>
              </a:r>
            </a:p>
            <a:p>
              <a:pPr>
                <a:defRPr/>
              </a:pPr>
              <a:r>
                <a:rPr lang="en-US" sz="1200" b="1" kern="0" dirty="0">
                  <a:solidFill>
                    <a:srgbClr val="00FFFF"/>
                  </a:solidFill>
                  <a:latin typeface="Calibri" panose="020F0502020204030204" pitchFamily="34" charset="0"/>
                  <a:cs typeface="Calibri" panose="020F0502020204030204" pitchFamily="34" charset="0"/>
                </a:rPr>
                <a:t>Bleu Clair = R4B5C5B2C1</a:t>
              </a:r>
            </a:p>
            <a:p>
              <a:pPr>
                <a:defRPr/>
              </a:pPr>
              <a:r>
                <a:rPr lang="en-US" sz="1200" b="1" kern="0" dirty="0">
                  <a:solidFill>
                    <a:srgbClr val="66FF33"/>
                  </a:solidFill>
                  <a:latin typeface="Calibri" panose="020F0502020204030204" pitchFamily="34" charset="0"/>
                  <a:cs typeface="Calibri" panose="020F0502020204030204" pitchFamily="34" charset="0"/>
                </a:rPr>
                <a:t>Vert= R4B5C5B2C2</a:t>
              </a:r>
            </a:p>
          </p:txBody>
        </p:sp>
      </p:grpSp>
    </p:spTree>
    <p:extLst>
      <p:ext uri="{BB962C8B-B14F-4D97-AF65-F5344CB8AC3E}">
        <p14:creationId xmlns:p14="http://schemas.microsoft.com/office/powerpoint/2010/main" val="3753766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eleteit">
            <a:extLst>
              <a:ext uri="{FF2B5EF4-FFF2-40B4-BE49-F238E27FC236}">
                <a16:creationId xmlns:a16="http://schemas.microsoft.com/office/drawing/2014/main" id="{90341845-6BAD-E025-1C04-9B2EFC5B3E87}"/>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503253" y="170790"/>
            <a:ext cx="11435558" cy="6316380"/>
          </a:xfrm>
          <a:prstGeom prst="rect">
            <a:avLst/>
          </a:prstGeom>
        </p:spPr>
      </p:pic>
      <p:sp>
        <p:nvSpPr>
          <p:cNvPr id="14" name="Rectangle 13">
            <a:extLst>
              <a:ext uri="{FF2B5EF4-FFF2-40B4-BE49-F238E27FC236}">
                <a16:creationId xmlns:a16="http://schemas.microsoft.com/office/drawing/2014/main" id="{166E5757-07FF-4F44-B11E-6FCF4C69BE41}"/>
              </a:ext>
            </a:extLst>
          </p:cNvPr>
          <p:cNvSpPr/>
          <p:nvPr/>
        </p:nvSpPr>
        <p:spPr>
          <a:xfrm>
            <a:off x="7046559" y="4284920"/>
            <a:ext cx="4752574" cy="216339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2">
            <a:extLst>
              <a:ext uri="{FF2B5EF4-FFF2-40B4-BE49-F238E27FC236}">
                <a16:creationId xmlns:a16="http://schemas.microsoft.com/office/drawing/2014/main" id="{15D4BA48-E083-744A-AF05-A59443522C28}"/>
              </a:ext>
            </a:extLst>
          </p:cNvPr>
          <p:cNvSpPr txBox="1">
            <a:spLocks noChangeArrowheads="1"/>
          </p:cNvSpPr>
          <p:nvPr/>
        </p:nvSpPr>
        <p:spPr>
          <a:xfrm>
            <a:off x="7111892" y="4129231"/>
            <a:ext cx="4489212" cy="2255608"/>
          </a:xfrm>
          <a:prstGeom prst="rect">
            <a:avLst/>
          </a:prstGeom>
        </p:spPr>
        <p:txBody>
          <a:bodyPr vert="horz" wrap="square" lIns="0" tIns="0" rIns="0" bIns="0" rtlCol="0" anchor="ctr">
            <a:noAutofit/>
          </a:bodyPr>
          <a:lst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3400"/>
              </a:lnSpc>
              <a:spcBef>
                <a:spcPct val="0"/>
              </a:spcBef>
              <a:spcAft>
                <a:spcPct val="0"/>
              </a:spcAft>
              <a:buClrTx/>
              <a:buSzTx/>
              <a:buFontTx/>
              <a:buNone/>
              <a:tabLst/>
              <a:defRPr/>
            </a:pPr>
            <a:r>
              <a:rPr kumimoji="0" lang="fr-FR" sz="2800" b="1" i="0" u="none" strike="noStrike" kern="1200" cap="none" spc="0" normalizeH="0" baseline="0" noProof="0" dirty="0">
                <a:ln>
                  <a:noFill/>
                </a:ln>
                <a:solidFill>
                  <a:schemeClr val="bg1"/>
                </a:solidFill>
                <a:effectLst/>
                <a:uLnTx/>
                <a:uFillTx/>
                <a:latin typeface="Calibri"/>
                <a:ea typeface="+mj-ea"/>
                <a:cs typeface="+mj-cs"/>
              </a:rPr>
              <a:t>Cas de polio </a:t>
            </a:r>
          </a:p>
          <a:p>
            <a:pPr marL="0" marR="0" lvl="0" indent="0" algn="l" defTabSz="914400" rtl="0" eaLnBrk="1" fontAlgn="base" latinLnBrk="0" hangingPunct="1">
              <a:lnSpc>
                <a:spcPts val="3400"/>
              </a:lnSpc>
              <a:spcBef>
                <a:spcPct val="0"/>
              </a:spcBef>
              <a:spcAft>
                <a:spcPct val="0"/>
              </a:spcAft>
              <a:buClrTx/>
              <a:buSzTx/>
              <a:buFontTx/>
              <a:buNone/>
              <a:tabLst/>
              <a:defRPr/>
            </a:pPr>
            <a:r>
              <a:rPr lang="fr-FR" sz="2800" b="1" dirty="0">
                <a:solidFill>
                  <a:schemeClr val="bg1"/>
                </a:solidFill>
                <a:latin typeface="Calibri"/>
              </a:rPr>
              <a:t>au cours des </a:t>
            </a:r>
            <a:r>
              <a:rPr kumimoji="0" lang="fr-FR" sz="2800" b="1" i="0" u="none" strike="noStrike" kern="1200" cap="none" spc="0" normalizeH="0" baseline="0" noProof="0" dirty="0">
                <a:ln>
                  <a:noFill/>
                </a:ln>
                <a:solidFill>
                  <a:schemeClr val="bg1"/>
                </a:solidFill>
                <a:effectLst/>
                <a:uLnTx/>
                <a:uFillTx/>
                <a:latin typeface="Calibri"/>
                <a:ea typeface="+mj-ea"/>
                <a:cs typeface="+mj-cs"/>
              </a:rPr>
              <a:t>6 derniers mois </a:t>
            </a:r>
          </a:p>
          <a:p>
            <a:pPr marL="457200" marR="0" lvl="0" indent="-457200" algn="l" defTabSz="914400" rtl="0" eaLnBrk="1" fontAlgn="base" latinLnBrk="0" hangingPunct="1">
              <a:lnSpc>
                <a:spcPts val="3400"/>
              </a:lnSpc>
              <a:spcBef>
                <a:spcPct val="0"/>
              </a:spcBef>
              <a:spcAft>
                <a:spcPct val="0"/>
              </a:spcAft>
              <a:buClr>
                <a:srgbClr val="FF0000"/>
              </a:buClr>
              <a:buSzPct val="160000"/>
              <a:buFont typeface="Arial" panose="020B0604020202020204" pitchFamily="34" charset="0"/>
              <a:buChar char="•"/>
              <a:tabLst/>
              <a:defRPr/>
            </a:pPr>
            <a:r>
              <a:rPr kumimoji="0" lang="fr-FR" sz="2000" i="0" u="none" strike="noStrike" kern="1200" cap="none" spc="0" normalizeH="0" baseline="0" noProof="0" dirty="0">
                <a:ln>
                  <a:noFill/>
                </a:ln>
                <a:solidFill>
                  <a:schemeClr val="bg1"/>
                </a:solidFill>
                <a:effectLst/>
                <a:uLnTx/>
                <a:uFillTx/>
                <a:latin typeface="Calibri"/>
                <a:ea typeface="+mj-ea"/>
                <a:cs typeface="+mj-cs"/>
              </a:rPr>
              <a:t>Virus Sauvages </a:t>
            </a:r>
          </a:p>
          <a:p>
            <a:pPr marL="457200" indent="-457200" algn="l" defTabSz="914400" eaLnBrk="1" hangingPunct="1">
              <a:buClr>
                <a:srgbClr val="00B050"/>
              </a:buClr>
              <a:buSzPct val="160000"/>
              <a:buFont typeface="Arial" panose="020B0604020202020204" pitchFamily="34" charset="0"/>
              <a:buChar char="•"/>
              <a:defRPr/>
            </a:pPr>
            <a:r>
              <a:rPr lang="fr-FR" sz="2000" dirty="0">
                <a:solidFill>
                  <a:schemeClr val="bg1"/>
                </a:solidFill>
                <a:latin typeface="Calibri"/>
              </a:rPr>
              <a:t>Virus mutants circulant de type 2 </a:t>
            </a:r>
          </a:p>
          <a:p>
            <a:pPr marL="457200" indent="-457200" algn="l" defTabSz="914400" eaLnBrk="1" hangingPunct="1">
              <a:buClr>
                <a:srgbClr val="FFC000"/>
              </a:buClr>
              <a:buSzPct val="160000"/>
              <a:buFont typeface="Arial" panose="020B0604020202020204" pitchFamily="34" charset="0"/>
              <a:buChar char="•"/>
              <a:defRPr/>
            </a:pPr>
            <a:r>
              <a:rPr lang="fr-FR" sz="2000" dirty="0">
                <a:solidFill>
                  <a:schemeClr val="bg1"/>
                </a:solidFill>
                <a:latin typeface="Calibri"/>
              </a:rPr>
              <a:t>Virus mutants circulant de type 1</a:t>
            </a:r>
          </a:p>
        </p:txBody>
      </p:sp>
      <p:sp>
        <p:nvSpPr>
          <p:cNvPr id="11" name="Date Placeholder 3">
            <a:extLst>
              <a:ext uri="{FF2B5EF4-FFF2-40B4-BE49-F238E27FC236}">
                <a16:creationId xmlns:a16="http://schemas.microsoft.com/office/drawing/2014/main" id="{4186F442-72F3-4ED8-A2FD-5D6D710C8B6B}"/>
              </a:ext>
            </a:extLst>
          </p:cNvPr>
          <p:cNvSpPr txBox="1">
            <a:spLocks/>
          </p:cNvSpPr>
          <p:nvPr/>
        </p:nvSpPr>
        <p:spPr bwMode="auto">
          <a:xfrm>
            <a:off x="9444879" y="6604268"/>
            <a:ext cx="2769404" cy="250825"/>
          </a:xfrm>
          <a:prstGeom prst="rect">
            <a:avLst/>
          </a:prstGeom>
          <a:noFill/>
        </p:spPr>
        <p:txBody>
          <a:bodyPr numCol="1">
            <a:prstTxWarp prst="textNoShape">
              <a:avLst/>
            </a:prstTxWarp>
          </a:bodyPr>
          <a:lstStyle>
            <a:defPPr>
              <a:defRPr lang="en-US"/>
            </a:defPPr>
            <a:lvl1pPr marL="0" algn="l" defTabSz="914400" rtl="0" eaLnBrk="0" latinLnBrk="0" hangingPunct="0">
              <a:lnSpc>
                <a:spcPct val="90000"/>
              </a:lnSpc>
              <a:spcBef>
                <a:spcPts val="1000"/>
              </a:spcBef>
              <a:buSzPct val="100000"/>
              <a:buFont typeface="Arial" pitchFamily="34" charset="0"/>
              <a:buChar char="•"/>
              <a:defRPr sz="2800" kern="1200">
                <a:solidFill>
                  <a:srgbClr val="000000"/>
                </a:solidFill>
                <a:latin typeface="Calibri" pitchFamily="34" charset="0"/>
                <a:ea typeface="+mn-ea"/>
                <a:cs typeface="+mn-cs"/>
              </a:defRPr>
            </a:lvl1pPr>
            <a:lvl2pPr marL="740661" indent="-284864" algn="l" defTabSz="914400" rtl="0" eaLnBrk="0" latinLnBrk="0" hangingPunct="0">
              <a:lnSpc>
                <a:spcPct val="90000"/>
              </a:lnSpc>
              <a:spcBef>
                <a:spcPts val="500"/>
              </a:spcBef>
              <a:buSzPct val="100000"/>
              <a:buFont typeface="Arial" pitchFamily="34" charset="0"/>
              <a:buChar char="•"/>
              <a:defRPr sz="2300" kern="1200">
                <a:solidFill>
                  <a:srgbClr val="000000"/>
                </a:solidFill>
                <a:latin typeface="Calibri" pitchFamily="34" charset="0"/>
                <a:ea typeface="+mn-ea"/>
                <a:cs typeface="+mn-cs"/>
              </a:defRPr>
            </a:lvl2pPr>
            <a:lvl3pPr marL="1139488" indent="-227895" algn="l" defTabSz="914400" rtl="0" eaLnBrk="0" latinLnBrk="0" hangingPunct="0">
              <a:lnSpc>
                <a:spcPct val="90000"/>
              </a:lnSpc>
              <a:spcBef>
                <a:spcPts val="500"/>
              </a:spcBef>
              <a:buSzPct val="100000"/>
              <a:buFont typeface="Arial" pitchFamily="34" charset="0"/>
              <a:buChar char="•"/>
              <a:defRPr sz="2000" kern="1200">
                <a:solidFill>
                  <a:srgbClr val="000000"/>
                </a:solidFill>
                <a:latin typeface="Calibri" pitchFamily="34" charset="0"/>
                <a:ea typeface="+mn-ea"/>
                <a:cs typeface="+mn-cs"/>
              </a:defRPr>
            </a:lvl3pPr>
            <a:lvl4pPr marL="1595270"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4pPr>
            <a:lvl5pPr marL="2051067"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5pPr>
            <a:lvl6pPr marL="2506859"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6pPr>
            <a:lvl7pPr marL="296264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7pPr>
            <a:lvl8pPr marL="3418441"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8pPr>
            <a:lvl9pPr marL="387423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9pPr>
          </a:lstStyle>
          <a:p>
            <a:pPr algn="r" eaLnBrk="1" fontAlgn="base" hangingPunct="1">
              <a:lnSpc>
                <a:spcPct val="100000"/>
              </a:lnSpc>
              <a:spcBef>
                <a:spcPct val="0"/>
              </a:spcBef>
              <a:spcAft>
                <a:spcPct val="0"/>
              </a:spcAft>
              <a:buSzTx/>
              <a:buFontTx/>
              <a:buNone/>
              <a:defRPr/>
            </a:pPr>
            <a:r>
              <a:rPr lang="en-GB" altLang="fr-FR" sz="1200" b="1" dirty="0" err="1">
                <a:solidFill>
                  <a:schemeClr val="bg1"/>
                </a:solidFill>
                <a:cs typeface="Calibri" pitchFamily="34" charset="0"/>
              </a:rPr>
              <a:t>Données</a:t>
            </a:r>
            <a:r>
              <a:rPr lang="en-GB" altLang="fr-FR" sz="1200" b="1" dirty="0">
                <a:solidFill>
                  <a:schemeClr val="bg1"/>
                </a:solidFill>
                <a:cs typeface="Calibri" pitchFamily="34" charset="0"/>
              </a:rPr>
              <a:t> OMS au  29 </a:t>
            </a:r>
            <a:r>
              <a:rPr lang="en-GB" altLang="fr-FR" sz="1200" b="1" dirty="0" err="1">
                <a:solidFill>
                  <a:schemeClr val="bg1"/>
                </a:solidFill>
                <a:cs typeface="Calibri" pitchFamily="34" charset="0"/>
              </a:rPr>
              <a:t>aout</a:t>
            </a:r>
            <a:r>
              <a:rPr lang="en-GB" altLang="fr-FR" sz="1200" b="1" dirty="0">
                <a:solidFill>
                  <a:schemeClr val="bg1"/>
                </a:solidFill>
                <a:cs typeface="Calibri" pitchFamily="34" charset="0"/>
              </a:rPr>
              <a:t>  2023</a:t>
            </a:r>
          </a:p>
        </p:txBody>
      </p:sp>
      <p:sp>
        <p:nvSpPr>
          <p:cNvPr id="8" name="Espace réservé du numéro de diapositive 3">
            <a:extLst>
              <a:ext uri="{FF2B5EF4-FFF2-40B4-BE49-F238E27FC236}">
                <a16:creationId xmlns:a16="http://schemas.microsoft.com/office/drawing/2014/main" id="{BD30FDD0-50E4-4D37-A3A4-CC0217937F28}"/>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5</a:t>
            </a:fld>
            <a:endParaRPr lang="en-GB"/>
          </a:p>
        </p:txBody>
      </p:sp>
      <p:sp>
        <p:nvSpPr>
          <p:cNvPr id="12" name="TextBox 15">
            <a:extLst>
              <a:ext uri="{FF2B5EF4-FFF2-40B4-BE49-F238E27FC236}">
                <a16:creationId xmlns:a16="http://schemas.microsoft.com/office/drawing/2014/main" id="{CAF8585E-2E97-409E-A897-49B00E3159B3}"/>
              </a:ext>
            </a:extLst>
          </p:cNvPr>
          <p:cNvSpPr txBox="1"/>
          <p:nvPr/>
        </p:nvSpPr>
        <p:spPr>
          <a:xfrm>
            <a:off x="1519328" y="85968"/>
            <a:ext cx="7772400" cy="1200329"/>
          </a:xfrm>
          <a:prstGeom prst="rect">
            <a:avLst/>
          </a:prstGeom>
          <a:solidFill>
            <a:schemeClr val="bg1"/>
          </a:solidFill>
        </p:spPr>
        <p:txBody>
          <a:bodyPr wrap="square" rtlCol="0">
            <a:spAutoFit/>
          </a:bodyPr>
          <a:lstStyle/>
          <a:p>
            <a:pPr algn="ctr" defTabSz="457200" fontAlgn="base">
              <a:spcBef>
                <a:spcPct val="0"/>
              </a:spcBef>
              <a:spcAft>
                <a:spcPct val="0"/>
              </a:spcAft>
            </a:pPr>
            <a:r>
              <a:rPr lang="fr-CH" sz="3600" b="1" dirty="0">
                <a:solidFill>
                  <a:srgbClr val="F49B03"/>
                </a:solidFill>
                <a:latin typeface="+mj-lt"/>
                <a:ea typeface="+mj-ea"/>
                <a:cs typeface="+mj-cs"/>
              </a:rPr>
              <a:t>Le virus sauvage de la polio disparait  mais…  </a:t>
            </a:r>
            <a:endParaRPr lang="en-US" sz="3600" b="1" dirty="0">
              <a:solidFill>
                <a:srgbClr val="F49B03"/>
              </a:solidFill>
              <a:latin typeface="+mj-lt"/>
              <a:ea typeface="+mj-ea"/>
              <a:cs typeface="+mj-cs"/>
            </a:endParaRPr>
          </a:p>
        </p:txBody>
      </p:sp>
      <p:pic>
        <p:nvPicPr>
          <p:cNvPr id="4" name="Image 3">
            <a:extLst>
              <a:ext uri="{FF2B5EF4-FFF2-40B4-BE49-F238E27FC236}">
                <a16:creationId xmlns:a16="http://schemas.microsoft.com/office/drawing/2014/main" id="{F3738304-6514-4B88-F913-2F64136EDDE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693" y="170789"/>
            <a:ext cx="878027" cy="1115508"/>
          </a:xfrm>
          <a:prstGeom prst="rect">
            <a:avLst/>
          </a:prstGeom>
        </p:spPr>
      </p:pic>
      <p:pic>
        <p:nvPicPr>
          <p:cNvPr id="2" name="Image 1" descr="Une image contenant texte, clipart&#10;&#10;Description générée automatiquement">
            <a:extLst>
              <a:ext uri="{FF2B5EF4-FFF2-40B4-BE49-F238E27FC236}">
                <a16:creationId xmlns:a16="http://schemas.microsoft.com/office/drawing/2014/main" id="{EA4679C0-72D6-2294-371C-C2408A5A1F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7337" y="12938"/>
            <a:ext cx="2101474" cy="965622"/>
          </a:xfrm>
          <a:prstGeom prst="rect">
            <a:avLst/>
          </a:prstGeom>
        </p:spPr>
      </p:pic>
    </p:spTree>
    <p:extLst>
      <p:ext uri="{BB962C8B-B14F-4D97-AF65-F5344CB8AC3E}">
        <p14:creationId xmlns:p14="http://schemas.microsoft.com/office/powerpoint/2010/main" val="1675447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icture containing person, indoor, young, little&#10;&#10;Description automatically generated">
            <a:extLst>
              <a:ext uri="{FF2B5EF4-FFF2-40B4-BE49-F238E27FC236}">
                <a16:creationId xmlns:a16="http://schemas.microsoft.com/office/drawing/2014/main" id="{F134FA38-E7D7-CF44-AABB-DCF21EF2F93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colorTemperature colorTemp="11065"/>
                    </a14:imgEffect>
                    <a14:imgEffect>
                      <a14:saturation sat="0"/>
                    </a14:imgEffect>
                  </a14:imgLayer>
                </a14:imgProps>
              </a:ext>
              <a:ext uri="{28A0092B-C50C-407E-A947-70E740481C1C}">
                <a14:useLocalDpi xmlns:a14="http://schemas.microsoft.com/office/drawing/2010/main"/>
              </a:ext>
            </a:extLst>
          </a:blip>
          <a:srcRect/>
          <a:stretch/>
        </p:blipFill>
        <p:spPr>
          <a:xfrm>
            <a:off x="6172669" y="1646242"/>
            <a:ext cx="6019331" cy="3562270"/>
          </a:xfrm>
          <a:prstGeom prst="rect">
            <a:avLst/>
          </a:prstGeom>
          <a:effectLst/>
        </p:spPr>
      </p:pic>
      <p:sp>
        <p:nvSpPr>
          <p:cNvPr id="4" name="Pentagon 3">
            <a:extLst>
              <a:ext uri="{FF2B5EF4-FFF2-40B4-BE49-F238E27FC236}">
                <a16:creationId xmlns:a16="http://schemas.microsoft.com/office/drawing/2014/main" id="{D10A4FCE-D26E-3149-A19C-443957AAC849}"/>
              </a:ext>
            </a:extLst>
          </p:cNvPr>
          <p:cNvSpPr/>
          <p:nvPr/>
        </p:nvSpPr>
        <p:spPr>
          <a:xfrm>
            <a:off x="-1" y="370115"/>
            <a:ext cx="7347857" cy="5775036"/>
          </a:xfrm>
          <a:prstGeom prst="homePlate">
            <a:avLst>
              <a:gd name="adj" fmla="val 20725"/>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497D"/>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A524DBC6-324A-E14F-A219-78922F05EC61}"/>
              </a:ext>
            </a:extLst>
          </p:cNvPr>
          <p:cNvSpPr/>
          <p:nvPr/>
        </p:nvSpPr>
        <p:spPr>
          <a:xfrm>
            <a:off x="400910" y="499943"/>
            <a:ext cx="5416110" cy="637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chorCtr="0">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lang="fr-FR" sz="3600" b="1" i="1" dirty="0">
                <a:solidFill>
                  <a:schemeClr val="accent6"/>
                </a:solidFill>
                <a:latin typeface="Calibri" panose="020F0502020204030204" pitchFamily="34" charset="0"/>
                <a:cs typeface="Calibri" panose="020F0502020204030204" pitchFamily="34" charset="0"/>
              </a:rPr>
              <a:t>Virus mutants circulant ?</a:t>
            </a:r>
          </a:p>
        </p:txBody>
      </p:sp>
      <p:sp>
        <p:nvSpPr>
          <p:cNvPr id="21" name="Content Placeholder 2">
            <a:extLst>
              <a:ext uri="{FF2B5EF4-FFF2-40B4-BE49-F238E27FC236}">
                <a16:creationId xmlns:a16="http://schemas.microsoft.com/office/drawing/2014/main" id="{C888CEF8-EAE0-1441-B489-B06C9C681D17}"/>
              </a:ext>
            </a:extLst>
          </p:cNvPr>
          <p:cNvSpPr>
            <a:spLocks noGrp="1"/>
          </p:cNvSpPr>
          <p:nvPr/>
        </p:nvSpPr>
        <p:spPr>
          <a:xfrm>
            <a:off x="172788" y="1267512"/>
            <a:ext cx="6019331" cy="4577607"/>
          </a:xfrm>
          <a:prstGeom prst="rect">
            <a:avLst/>
          </a:prstGeom>
        </p:spPr>
        <p:txBody>
          <a:bodyPr vert="horz" lIns="91440" tIns="45720" rIns="91440" bIns="45720" rtlCol="0">
            <a:normAutofit fontScale="92500" lnSpcReduction="10000"/>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20000"/>
              </a:lnSpc>
              <a:spcBef>
                <a:spcPts val="300"/>
              </a:spcBef>
              <a:spcAft>
                <a:spcPts val="300"/>
              </a:spcAft>
            </a:pPr>
            <a:r>
              <a:rPr lang="fr-FR" sz="2400" dirty="0"/>
              <a:t>Le vaccin oral  contient un </a:t>
            </a:r>
            <a:r>
              <a:rPr lang="fr-FR" sz="2400" b="1" dirty="0"/>
              <a:t>virus vivant de la polio, fortement affaibli </a:t>
            </a:r>
          </a:p>
          <a:p>
            <a:pPr>
              <a:lnSpc>
                <a:spcPct val="120000"/>
              </a:lnSpc>
              <a:spcBef>
                <a:spcPts val="300"/>
              </a:spcBef>
              <a:spcAft>
                <a:spcPts val="300"/>
              </a:spcAft>
            </a:pPr>
            <a:r>
              <a:rPr lang="fr-FR" sz="2400" dirty="0"/>
              <a:t>L’enfant vacciné oralement va excréter le virus vaccinal </a:t>
            </a:r>
          </a:p>
          <a:p>
            <a:pPr>
              <a:lnSpc>
                <a:spcPct val="120000"/>
              </a:lnSpc>
              <a:spcBef>
                <a:spcPts val="300"/>
              </a:spcBef>
              <a:spcAft>
                <a:spcPts val="300"/>
              </a:spcAft>
            </a:pPr>
            <a:r>
              <a:rPr lang="fr-FR" sz="2400" b="1" dirty="0"/>
              <a:t>Le virus vaccinal peut alors circuler entre </a:t>
            </a:r>
            <a:r>
              <a:rPr lang="fr-FR" sz="2400" b="1" u="sng" dirty="0"/>
              <a:t>les enfants </a:t>
            </a:r>
            <a:r>
              <a:rPr lang="fr-FR" sz="2400" dirty="0"/>
              <a:t>par contact fécal-oral </a:t>
            </a:r>
          </a:p>
          <a:p>
            <a:pPr>
              <a:lnSpc>
                <a:spcPct val="120000"/>
              </a:lnSpc>
              <a:spcBef>
                <a:spcPts val="300"/>
              </a:spcBef>
              <a:spcAft>
                <a:spcPts val="300"/>
              </a:spcAft>
            </a:pPr>
            <a:r>
              <a:rPr lang="fr-FR" sz="2400" dirty="0"/>
              <a:t>Si il circule </a:t>
            </a:r>
            <a:r>
              <a:rPr lang="fr-FR" sz="2400" b="1" dirty="0"/>
              <a:t>longtemps </a:t>
            </a:r>
            <a:r>
              <a:rPr lang="fr-FR" sz="2400" b="1" u="sng" dirty="0"/>
              <a:t>(beaucoup d’enfants non vaccinés)</a:t>
            </a:r>
            <a:r>
              <a:rPr lang="fr-FR" sz="2400" b="1" dirty="0"/>
              <a:t> </a:t>
            </a:r>
            <a:r>
              <a:rPr lang="fr-FR" sz="2400" dirty="0"/>
              <a:t>le virus peut alors </a:t>
            </a:r>
            <a:r>
              <a:rPr lang="fr-FR" sz="2400" b="1" dirty="0"/>
              <a:t>muter </a:t>
            </a:r>
            <a:r>
              <a:rPr lang="fr-FR" sz="2400" dirty="0"/>
              <a:t>et devenir virulent…</a:t>
            </a:r>
          </a:p>
          <a:p>
            <a:pPr>
              <a:lnSpc>
                <a:spcPct val="120000"/>
              </a:lnSpc>
              <a:spcBef>
                <a:spcPts val="300"/>
              </a:spcBef>
              <a:spcAft>
                <a:spcPts val="300"/>
              </a:spcAft>
            </a:pPr>
            <a:r>
              <a:rPr lang="fr-FR" sz="2400" b="1" dirty="0"/>
              <a:t>La flambée affecte des enfants non vaccinés </a:t>
            </a:r>
            <a:r>
              <a:rPr lang="fr-FR" sz="2400" dirty="0"/>
              <a:t>en contact avec le virus mutant devenu virulent</a:t>
            </a:r>
            <a:r>
              <a:rPr lang="fr-FR" sz="1600" dirty="0"/>
              <a:t>.</a:t>
            </a:r>
            <a:endParaRPr lang="en-US" sz="1600" dirty="0"/>
          </a:p>
        </p:txBody>
      </p:sp>
      <p:sp>
        <p:nvSpPr>
          <p:cNvPr id="9" name="Espace réservé du numéro de diapositive 3">
            <a:extLst>
              <a:ext uri="{FF2B5EF4-FFF2-40B4-BE49-F238E27FC236}">
                <a16:creationId xmlns:a16="http://schemas.microsoft.com/office/drawing/2014/main" id="{3309682D-5810-4C66-BF48-8F29214B89F7}"/>
              </a:ext>
            </a:extLst>
          </p:cNvPr>
          <p:cNvSpPr txBox="1">
            <a:spLocks/>
          </p:cNvSpPr>
          <p:nvPr/>
        </p:nvSpPr>
        <p:spPr>
          <a:xfrm>
            <a:off x="3" y="6604000"/>
            <a:ext cx="2370667" cy="254000"/>
          </a:xfrm>
          <a:prstGeom prst="rect">
            <a:avLst/>
          </a:prstGeom>
        </p:spPr>
        <p:txBody>
          <a:bodyPr vert="horz" lIns="91440" tIns="45720" rIns="91440" bIns="45720" rtlCol="0" anchor="ctr"/>
          <a:lstStyle>
            <a:defPPr>
              <a:defRPr lang="en-US"/>
            </a:defPPr>
            <a:lvl1pPr algn="r" defTabSz="457200" fontAlgn="auto">
              <a:spcBef>
                <a:spcPts val="0"/>
              </a:spcBef>
              <a:spcAft>
                <a:spcPts val="0"/>
              </a:spcAft>
              <a:defRPr sz="1200">
                <a:solidFill>
                  <a:prstClr val="white"/>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D5B703-056F-479E-8893-F9987D298CDC}" type="slidenum">
              <a:rPr lang="en-GB" smtClean="0"/>
              <a:pPr/>
              <a:t>6</a:t>
            </a:fld>
            <a:endParaRPr lang="en-GB"/>
          </a:p>
        </p:txBody>
      </p:sp>
      <p:sp>
        <p:nvSpPr>
          <p:cNvPr id="3" name="Rectangle 2">
            <a:extLst>
              <a:ext uri="{FF2B5EF4-FFF2-40B4-BE49-F238E27FC236}">
                <a16:creationId xmlns:a16="http://schemas.microsoft.com/office/drawing/2014/main" id="{C65E002C-0A8B-4087-ACE4-D858CBC4DB3B}"/>
              </a:ext>
            </a:extLst>
          </p:cNvPr>
          <p:cNvSpPr/>
          <p:nvPr/>
        </p:nvSpPr>
        <p:spPr>
          <a:xfrm>
            <a:off x="9307629" y="134754"/>
            <a:ext cx="2733575" cy="904774"/>
          </a:xfrm>
          <a:prstGeom prst="rect">
            <a:avLst/>
          </a:prstGeom>
          <a:solidFill>
            <a:schemeClr val="bg1"/>
          </a:solidFill>
          <a:ln>
            <a:solidFill>
              <a:schemeClr val="bg1"/>
            </a:solidFill>
          </a:ln>
          <a:effectLst>
            <a:outerShdw blurRad="50800" dist="50800" dir="5400000" algn="ctr"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7" name="Image 6">
            <a:extLst>
              <a:ext uri="{FF2B5EF4-FFF2-40B4-BE49-F238E27FC236}">
                <a16:creationId xmlns:a16="http://schemas.microsoft.com/office/drawing/2014/main" id="{D920EB2E-5F5A-4BD8-3EA5-33CFB6D7D3F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55712" y="5376263"/>
            <a:ext cx="913062" cy="1160020"/>
          </a:xfrm>
          <a:prstGeom prst="rect">
            <a:avLst/>
          </a:prstGeom>
        </p:spPr>
      </p:pic>
      <p:pic>
        <p:nvPicPr>
          <p:cNvPr id="2" name="Image 1" descr="Une image contenant texte, clipart&#10;&#10;Description générée automatiquement">
            <a:extLst>
              <a:ext uri="{FF2B5EF4-FFF2-40B4-BE49-F238E27FC236}">
                <a16:creationId xmlns:a16="http://schemas.microsoft.com/office/drawing/2014/main" id="{CB84B622-A24E-7A6C-3B01-09C682AD76D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62645" y="12938"/>
            <a:ext cx="1887182" cy="867155"/>
          </a:xfrm>
          <a:prstGeom prst="rect">
            <a:avLst/>
          </a:prstGeom>
        </p:spPr>
      </p:pic>
      <p:sp>
        <p:nvSpPr>
          <p:cNvPr id="5" name="Ellipse 4">
            <a:extLst>
              <a:ext uri="{FF2B5EF4-FFF2-40B4-BE49-F238E27FC236}">
                <a16:creationId xmlns:a16="http://schemas.microsoft.com/office/drawing/2014/main" id="{1F990F8B-4295-7C6A-D9D7-8B32032E68F0}"/>
              </a:ext>
            </a:extLst>
          </p:cNvPr>
          <p:cNvSpPr/>
          <p:nvPr/>
        </p:nvSpPr>
        <p:spPr>
          <a:xfrm>
            <a:off x="6772036" y="615553"/>
            <a:ext cx="5196738" cy="1286539"/>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spcBef>
                <a:spcPts val="300"/>
              </a:spcBef>
              <a:spcAft>
                <a:spcPts val="300"/>
              </a:spcAft>
            </a:pPr>
            <a:r>
              <a:rPr lang="fr-FR" sz="2400" b="1" dirty="0"/>
              <a:t>Les enfants vaccinés sont protégés par le vaccin! </a:t>
            </a:r>
          </a:p>
        </p:txBody>
      </p:sp>
    </p:spTree>
    <p:extLst>
      <p:ext uri="{BB962C8B-B14F-4D97-AF65-F5344CB8AC3E}">
        <p14:creationId xmlns:p14="http://schemas.microsoft.com/office/powerpoint/2010/main" val="1279373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Une image contenant texte, clipart&#10;&#10;Description générée automatiquement">
            <a:extLst>
              <a:ext uri="{FF2B5EF4-FFF2-40B4-BE49-F238E27FC236}">
                <a16:creationId xmlns:a16="http://schemas.microsoft.com/office/drawing/2014/main" id="{5C768881-C883-AAF2-8B76-783BF86D2C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11951" y="-18851"/>
            <a:ext cx="2038973" cy="936903"/>
          </a:xfrm>
          <a:prstGeom prst="rect">
            <a:avLst/>
          </a:prstGeom>
        </p:spPr>
      </p:pic>
      <p:sp>
        <p:nvSpPr>
          <p:cNvPr id="2" name="Title 1">
            <a:extLst>
              <a:ext uri="{FF2B5EF4-FFF2-40B4-BE49-F238E27FC236}">
                <a16:creationId xmlns:a16="http://schemas.microsoft.com/office/drawing/2014/main" id="{7FE16745-D42B-423D-A0EA-0FEB938AE022}"/>
              </a:ext>
            </a:extLst>
          </p:cNvPr>
          <p:cNvSpPr>
            <a:spLocks noGrp="1"/>
          </p:cNvSpPr>
          <p:nvPr>
            <p:ph type="title"/>
          </p:nvPr>
        </p:nvSpPr>
        <p:spPr>
          <a:xfrm>
            <a:off x="1850942" y="255802"/>
            <a:ext cx="7886700" cy="973379"/>
          </a:xfrm>
        </p:spPr>
        <p:txBody>
          <a:bodyPr/>
          <a:lstStyle/>
          <a:p>
            <a:r>
              <a:rPr lang="en-GB" sz="3600" b="1" dirty="0">
                <a:solidFill>
                  <a:schemeClr val="accent6"/>
                </a:solidFill>
                <a:latin typeface="Calibri" panose="020F0502020204030204" pitchFamily="34" charset="0"/>
                <a:ea typeface="+mn-ea"/>
                <a:cs typeface="Calibri" panose="020F0502020204030204" pitchFamily="34" charset="0"/>
              </a:rPr>
              <a:t>Le nouveau </a:t>
            </a:r>
            <a:r>
              <a:rPr lang="en-GB" sz="3600" b="1" dirty="0" err="1">
                <a:solidFill>
                  <a:schemeClr val="accent6"/>
                </a:solidFill>
                <a:latin typeface="Calibri" panose="020F0502020204030204" pitchFamily="34" charset="0"/>
                <a:ea typeface="+mn-ea"/>
                <a:cs typeface="Calibri" panose="020F0502020204030204" pitchFamily="34" charset="0"/>
              </a:rPr>
              <a:t>vaccin</a:t>
            </a:r>
            <a:r>
              <a:rPr lang="en-GB" sz="3600" b="1" dirty="0">
                <a:solidFill>
                  <a:schemeClr val="accent6"/>
                </a:solidFill>
                <a:latin typeface="Calibri" panose="020F0502020204030204" pitchFamily="34" charset="0"/>
                <a:ea typeface="+mn-ea"/>
                <a:cs typeface="Calibri" panose="020F0502020204030204" pitchFamily="34" charset="0"/>
              </a:rPr>
              <a:t> oral (nVPO</a:t>
            </a:r>
            <a:r>
              <a:rPr lang="en-GB" sz="3600" b="1" baseline="-25000" dirty="0">
                <a:solidFill>
                  <a:schemeClr val="accent6"/>
                </a:solidFill>
                <a:latin typeface="Calibri" panose="020F0502020204030204" pitchFamily="34" charset="0"/>
                <a:ea typeface="+mn-ea"/>
                <a:cs typeface="Calibri" panose="020F0502020204030204" pitchFamily="34" charset="0"/>
              </a:rPr>
              <a:t>2</a:t>
            </a:r>
            <a:r>
              <a:rPr lang="en-GB" sz="3600" b="1" dirty="0">
                <a:solidFill>
                  <a:schemeClr val="accent6"/>
                </a:solidFill>
                <a:latin typeface="Calibri" panose="020F0502020204030204" pitchFamily="34" charset="0"/>
                <a:ea typeface="+mn-ea"/>
                <a:cs typeface="Calibri" panose="020F0502020204030204" pitchFamily="34" charset="0"/>
              </a:rPr>
              <a:t>)</a:t>
            </a:r>
            <a:br>
              <a:rPr lang="en-GB" sz="2800" b="1" dirty="0">
                <a:latin typeface="Avenir Next LT Pro" panose="020B0504020202020204" pitchFamily="34" charset="0"/>
              </a:rPr>
            </a:br>
            <a:br>
              <a:rPr lang="en-GB" sz="2800" b="1" dirty="0">
                <a:latin typeface="Avenir Next LT Pro" panose="020B0504020202020204" pitchFamily="34" charset="0"/>
              </a:rPr>
            </a:br>
            <a:br>
              <a:rPr lang="en-GB" sz="2800" b="1" dirty="0">
                <a:latin typeface="Avenir Next LT Pro" panose="020B0504020202020204" pitchFamily="34" charset="0"/>
              </a:rPr>
            </a:br>
            <a:r>
              <a:rPr lang="en-GB" sz="2800" b="1" dirty="0">
                <a:latin typeface="Avenir Next LT Pro" panose="020B0504020202020204" pitchFamily="34" charset="0"/>
              </a:rPr>
              <a:t> </a:t>
            </a:r>
            <a:endParaRPr lang="en-GB" dirty="0"/>
          </a:p>
        </p:txBody>
      </p:sp>
      <p:sp>
        <p:nvSpPr>
          <p:cNvPr id="3" name="Content Placeholder 2">
            <a:extLst>
              <a:ext uri="{FF2B5EF4-FFF2-40B4-BE49-F238E27FC236}">
                <a16:creationId xmlns:a16="http://schemas.microsoft.com/office/drawing/2014/main" id="{6D167CA4-E991-4C10-8C63-9C1F0A7EA5C2}"/>
              </a:ext>
            </a:extLst>
          </p:cNvPr>
          <p:cNvSpPr>
            <a:spLocks noGrp="1"/>
          </p:cNvSpPr>
          <p:nvPr>
            <p:ph idx="1"/>
          </p:nvPr>
        </p:nvSpPr>
        <p:spPr>
          <a:xfrm>
            <a:off x="186646" y="1221462"/>
            <a:ext cx="6586539" cy="5227389"/>
          </a:xfrm>
        </p:spPr>
        <p:txBody>
          <a:bodyPr>
            <a:normAutofit/>
          </a:bodyPr>
          <a:lstStyle/>
          <a:p>
            <a:pPr>
              <a:lnSpc>
                <a:spcPct val="130000"/>
              </a:lnSpc>
              <a:spcBef>
                <a:spcPts val="300"/>
              </a:spcBef>
              <a:spcAft>
                <a:spcPts val="300"/>
              </a:spcAft>
            </a:pPr>
            <a:r>
              <a:rPr lang="fr-FR" sz="2800" b="1" dirty="0"/>
              <a:t>Nouvel outil  pour répondre aux flambées </a:t>
            </a:r>
            <a:r>
              <a:rPr lang="fr-FR" sz="2800" dirty="0"/>
              <a:t>de poliovirus mutants de type 2 (PVCDV</a:t>
            </a:r>
            <a:r>
              <a:rPr lang="fr-FR" sz="2800" baseline="-25000" dirty="0"/>
              <a:t>2</a:t>
            </a:r>
            <a:r>
              <a:rPr lang="fr-FR" sz="2800" dirty="0"/>
              <a:t>). </a:t>
            </a:r>
          </a:p>
          <a:p>
            <a:pPr>
              <a:lnSpc>
                <a:spcPct val="130000"/>
              </a:lnSpc>
              <a:spcBef>
                <a:spcPts val="300"/>
              </a:spcBef>
              <a:spcAft>
                <a:spcPts val="300"/>
              </a:spcAft>
            </a:pPr>
            <a:r>
              <a:rPr lang="fr-FR" sz="2800" dirty="0"/>
              <a:t>Version modifiée du vaccin polio oral, </a:t>
            </a:r>
            <a:r>
              <a:rPr lang="fr-FR" sz="2800" b="1" dirty="0"/>
              <a:t>génétiquement plus stable</a:t>
            </a:r>
            <a:r>
              <a:rPr lang="fr-FR" sz="2800" dirty="0"/>
              <a:t>, pour éviter les mutations et les flambées</a:t>
            </a:r>
          </a:p>
          <a:p>
            <a:pPr>
              <a:lnSpc>
                <a:spcPct val="130000"/>
              </a:lnSpc>
              <a:spcBef>
                <a:spcPts val="300"/>
              </a:spcBef>
              <a:spcAft>
                <a:spcPts val="300"/>
              </a:spcAft>
            </a:pPr>
            <a:r>
              <a:rPr lang="fr-FR" sz="2800" dirty="0"/>
              <a:t>Autorisé par l’OMS en Novembre 2020</a:t>
            </a:r>
          </a:p>
          <a:p>
            <a:pPr marL="0" indent="0">
              <a:buNone/>
            </a:pPr>
            <a:endParaRPr lang="fr-FR" sz="3600" dirty="0">
              <a:latin typeface="Avenir Next LT Pro" panose="020B0504020202020204" pitchFamily="34" charset="0"/>
            </a:endParaRPr>
          </a:p>
        </p:txBody>
      </p:sp>
      <p:sp>
        <p:nvSpPr>
          <p:cNvPr id="6" name="TextBox 24">
            <a:extLst>
              <a:ext uri="{FF2B5EF4-FFF2-40B4-BE49-F238E27FC236}">
                <a16:creationId xmlns:a16="http://schemas.microsoft.com/office/drawing/2014/main" id="{EAD3D075-30C8-4D32-863F-ADA2CDEAC2E9}"/>
              </a:ext>
            </a:extLst>
          </p:cNvPr>
          <p:cNvSpPr txBox="1"/>
          <p:nvPr/>
        </p:nvSpPr>
        <p:spPr>
          <a:xfrm>
            <a:off x="7043879" y="1242402"/>
            <a:ext cx="4834547" cy="1200329"/>
          </a:xfrm>
          <a:prstGeom prst="rect">
            <a:avLst/>
          </a:prstGeom>
          <a:noFill/>
        </p:spPr>
        <p:txBody>
          <a:bodyPr wrap="square" rtlCol="0">
            <a:spAutoFit/>
          </a:bodyPr>
          <a:lstStyle/>
          <a:p>
            <a:pPr fontAlgn="base">
              <a:spcBef>
                <a:spcPts val="1200"/>
              </a:spcBef>
            </a:pPr>
            <a:r>
              <a:rPr lang="en-US" sz="2400" b="1" dirty="0">
                <a:solidFill>
                  <a:srgbClr val="0D4D95"/>
                </a:solidFill>
                <a:latin typeface="D-DIN" panose="020B0504030202030204" pitchFamily="34" charset="0"/>
              </a:rPr>
              <a:t>725 millions de doses </a:t>
            </a:r>
            <a:r>
              <a:rPr lang="en-US" sz="2400" b="1" dirty="0" err="1">
                <a:solidFill>
                  <a:srgbClr val="0D4D95"/>
                </a:solidFill>
                <a:latin typeface="D-DIN" panose="020B0504030202030204" pitchFamily="34" charset="0"/>
              </a:rPr>
              <a:t>utilisées</a:t>
            </a:r>
            <a:r>
              <a:rPr lang="en-US" sz="2400" b="1" dirty="0">
                <a:solidFill>
                  <a:srgbClr val="0D4D95"/>
                </a:solidFill>
                <a:latin typeface="D-DIN" panose="020B0504030202030204" pitchFamily="34" charset="0"/>
              </a:rPr>
              <a:t> dans 32  pays  : Afrique, Europe et </a:t>
            </a:r>
            <a:r>
              <a:rPr lang="en-US" sz="2400" b="1" dirty="0" err="1">
                <a:solidFill>
                  <a:srgbClr val="0D4D95"/>
                </a:solidFill>
                <a:latin typeface="D-DIN" panose="020B0504030202030204" pitchFamily="34" charset="0"/>
              </a:rPr>
              <a:t>Moyen</a:t>
            </a:r>
            <a:r>
              <a:rPr lang="en-US" sz="2400" b="1" dirty="0">
                <a:solidFill>
                  <a:srgbClr val="0D4D95"/>
                </a:solidFill>
                <a:latin typeface="D-DIN" panose="020B0504030202030204" pitchFamily="34" charset="0"/>
              </a:rPr>
              <a:t> Orient. </a:t>
            </a:r>
            <a:endParaRPr lang="en-US" sz="2400" dirty="0">
              <a:latin typeface="D-DIN" panose="020B0504030202030204" pitchFamily="34" charset="0"/>
            </a:endParaRPr>
          </a:p>
        </p:txBody>
      </p:sp>
      <p:pic>
        <p:nvPicPr>
          <p:cNvPr id="7" name="Image 6">
            <a:extLst>
              <a:ext uri="{FF2B5EF4-FFF2-40B4-BE49-F238E27FC236}">
                <a16:creationId xmlns:a16="http://schemas.microsoft.com/office/drawing/2014/main" id="{5A6A261D-0026-4945-AE64-934E041096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06655" y="2432098"/>
            <a:ext cx="4487728" cy="2993706"/>
          </a:xfrm>
          <a:prstGeom prst="rect">
            <a:avLst/>
          </a:prstGeom>
        </p:spPr>
      </p:pic>
      <p:pic>
        <p:nvPicPr>
          <p:cNvPr id="10" name="Image 9">
            <a:extLst>
              <a:ext uri="{FF2B5EF4-FFF2-40B4-BE49-F238E27FC236}">
                <a16:creationId xmlns:a16="http://schemas.microsoft.com/office/drawing/2014/main" id="{A2DFFD2C-89C5-1D79-8F79-28D158BD8EE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25202" y="5444765"/>
            <a:ext cx="947494" cy="1134557"/>
          </a:xfrm>
          <a:prstGeom prst="rect">
            <a:avLst/>
          </a:prstGeom>
        </p:spPr>
      </p:pic>
      <p:grpSp>
        <p:nvGrpSpPr>
          <p:cNvPr id="14" name="Groupe 13">
            <a:extLst>
              <a:ext uri="{FF2B5EF4-FFF2-40B4-BE49-F238E27FC236}">
                <a16:creationId xmlns:a16="http://schemas.microsoft.com/office/drawing/2014/main" id="{44EE1E15-D284-D0B5-B296-C72BB122F51B}"/>
              </a:ext>
            </a:extLst>
          </p:cNvPr>
          <p:cNvGrpSpPr/>
          <p:nvPr/>
        </p:nvGrpSpPr>
        <p:grpSpPr>
          <a:xfrm>
            <a:off x="546564" y="182390"/>
            <a:ext cx="9574692" cy="6279682"/>
            <a:chOff x="546564" y="182390"/>
            <a:chExt cx="9574692" cy="6279682"/>
          </a:xfrm>
        </p:grpSpPr>
        <p:grpSp>
          <p:nvGrpSpPr>
            <p:cNvPr id="12" name="Groupe 11">
              <a:extLst>
                <a:ext uri="{FF2B5EF4-FFF2-40B4-BE49-F238E27FC236}">
                  <a16:creationId xmlns:a16="http://schemas.microsoft.com/office/drawing/2014/main" id="{FE150FFF-6F0C-FB7A-3EF5-BE15F4045D73}"/>
                </a:ext>
              </a:extLst>
            </p:cNvPr>
            <p:cNvGrpSpPr/>
            <p:nvPr/>
          </p:nvGrpSpPr>
          <p:grpSpPr>
            <a:xfrm>
              <a:off x="546564" y="182390"/>
              <a:ext cx="9574692" cy="6266461"/>
              <a:chOff x="546564" y="182390"/>
              <a:chExt cx="9574692" cy="6266461"/>
            </a:xfrm>
          </p:grpSpPr>
          <p:pic>
            <p:nvPicPr>
              <p:cNvPr id="8" name="Image 7">
                <a:extLst>
                  <a:ext uri="{FF2B5EF4-FFF2-40B4-BE49-F238E27FC236}">
                    <a16:creationId xmlns:a16="http://schemas.microsoft.com/office/drawing/2014/main" id="{8DC3E9EB-DBDC-CD42-87C6-90EE03FD1EA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5717" y="182390"/>
                <a:ext cx="9399690" cy="6266461"/>
              </a:xfrm>
              <a:prstGeom prst="rect">
                <a:avLst/>
              </a:prstGeom>
            </p:spPr>
          </p:pic>
          <p:sp>
            <p:nvSpPr>
              <p:cNvPr id="9" name="ZoneTexte 8">
                <a:extLst>
                  <a:ext uri="{FF2B5EF4-FFF2-40B4-BE49-F238E27FC236}">
                    <a16:creationId xmlns:a16="http://schemas.microsoft.com/office/drawing/2014/main" id="{0CB2F41D-11C9-5110-79A5-C722E334F19C}"/>
                  </a:ext>
                </a:extLst>
              </p:cNvPr>
              <p:cNvSpPr txBox="1"/>
              <p:nvPr/>
            </p:nvSpPr>
            <p:spPr>
              <a:xfrm>
                <a:off x="1084521" y="1242402"/>
                <a:ext cx="184731" cy="369332"/>
              </a:xfrm>
              <a:prstGeom prst="rect">
                <a:avLst/>
              </a:prstGeom>
              <a:noFill/>
            </p:spPr>
            <p:txBody>
              <a:bodyPr wrap="none" rtlCol="0">
                <a:spAutoFit/>
              </a:bodyPr>
              <a:lstStyle/>
              <a:p>
                <a:endParaRPr lang="en-US" dirty="0"/>
              </a:p>
            </p:txBody>
          </p:sp>
          <p:sp>
            <p:nvSpPr>
              <p:cNvPr id="11" name="ZoneTexte 10">
                <a:extLst>
                  <a:ext uri="{FF2B5EF4-FFF2-40B4-BE49-F238E27FC236}">
                    <a16:creationId xmlns:a16="http://schemas.microsoft.com/office/drawing/2014/main" id="{C57A0FF2-A591-7F34-062B-3E04845CCCE9}"/>
                  </a:ext>
                </a:extLst>
              </p:cNvPr>
              <p:cNvSpPr txBox="1"/>
              <p:nvPr/>
            </p:nvSpPr>
            <p:spPr>
              <a:xfrm rot="16200000">
                <a:off x="-1040152" y="2712645"/>
                <a:ext cx="3635098" cy="461665"/>
              </a:xfrm>
              <a:prstGeom prst="rect">
                <a:avLst/>
              </a:prstGeom>
              <a:solidFill>
                <a:schemeClr val="bg1"/>
              </a:solidFill>
            </p:spPr>
            <p:txBody>
              <a:bodyPr wrap="none" rtlCol="0">
                <a:spAutoFit/>
              </a:bodyPr>
              <a:lstStyle/>
              <a:p>
                <a:r>
                  <a:rPr lang="en-US" sz="2400" dirty="0" err="1"/>
                  <a:t>Nombre</a:t>
                </a:r>
                <a:r>
                  <a:rPr lang="en-US" sz="2400" dirty="0"/>
                  <a:t> de Doses (millions)</a:t>
                </a:r>
              </a:p>
            </p:txBody>
          </p:sp>
          <p:sp>
            <p:nvSpPr>
              <p:cNvPr id="5" name="ZoneTexte 4">
                <a:extLst>
                  <a:ext uri="{FF2B5EF4-FFF2-40B4-BE49-F238E27FC236}">
                    <a16:creationId xmlns:a16="http://schemas.microsoft.com/office/drawing/2014/main" id="{AE85CE67-6454-D335-5CD4-70780C697151}"/>
                  </a:ext>
                </a:extLst>
              </p:cNvPr>
              <p:cNvSpPr txBox="1"/>
              <p:nvPr/>
            </p:nvSpPr>
            <p:spPr>
              <a:xfrm rot="5400000">
                <a:off x="7154643" y="3175358"/>
                <a:ext cx="5471562" cy="461665"/>
              </a:xfrm>
              <a:prstGeom prst="rect">
                <a:avLst/>
              </a:prstGeom>
              <a:solidFill>
                <a:schemeClr val="bg1"/>
              </a:solidFill>
            </p:spPr>
            <p:txBody>
              <a:bodyPr wrap="none" rtlCol="0">
                <a:spAutoFit/>
              </a:bodyPr>
              <a:lstStyle/>
              <a:p>
                <a:r>
                  <a:rPr lang="en-US" sz="2400" dirty="0"/>
                  <a:t>Nouvelles </a:t>
                </a:r>
                <a:r>
                  <a:rPr lang="en-US" sz="2400" dirty="0" err="1"/>
                  <a:t>flambées</a:t>
                </a:r>
                <a:r>
                  <a:rPr lang="en-US" sz="2400" dirty="0"/>
                  <a:t> (date de la detection)</a:t>
                </a:r>
              </a:p>
            </p:txBody>
          </p:sp>
        </p:grpSp>
        <p:sp>
          <p:nvSpPr>
            <p:cNvPr id="13" name="Rectangle 12">
              <a:extLst>
                <a:ext uri="{FF2B5EF4-FFF2-40B4-BE49-F238E27FC236}">
                  <a16:creationId xmlns:a16="http://schemas.microsoft.com/office/drawing/2014/main" id="{DA73EC6A-0768-6726-0D92-E9A202200002}"/>
                </a:ext>
              </a:extLst>
            </p:cNvPr>
            <p:cNvSpPr/>
            <p:nvPr/>
          </p:nvSpPr>
          <p:spPr>
            <a:xfrm>
              <a:off x="3374571" y="5878286"/>
              <a:ext cx="6209170" cy="5837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5" name="ZoneTexte 14">
            <a:extLst>
              <a:ext uri="{FF2B5EF4-FFF2-40B4-BE49-F238E27FC236}">
                <a16:creationId xmlns:a16="http://schemas.microsoft.com/office/drawing/2014/main" id="{E192FCC3-AA32-424C-BA0F-0B3F12D8E473}"/>
              </a:ext>
            </a:extLst>
          </p:cNvPr>
          <p:cNvSpPr txBox="1"/>
          <p:nvPr/>
        </p:nvSpPr>
        <p:spPr>
          <a:xfrm>
            <a:off x="1593977" y="301816"/>
            <a:ext cx="1096060" cy="400110"/>
          </a:xfrm>
          <a:prstGeom prst="rect">
            <a:avLst/>
          </a:prstGeom>
          <a:solidFill>
            <a:schemeClr val="bg1"/>
          </a:solidFill>
        </p:spPr>
        <p:txBody>
          <a:bodyPr wrap="square" rtlCol="0">
            <a:spAutoFit/>
          </a:bodyPr>
          <a:lstStyle/>
          <a:p>
            <a:pPr algn="ctr"/>
            <a:r>
              <a:rPr lang="en-US" sz="2000" dirty="0"/>
              <a:t>Source </a:t>
            </a:r>
          </a:p>
        </p:txBody>
      </p:sp>
    </p:spTree>
    <p:extLst>
      <p:ext uri="{BB962C8B-B14F-4D97-AF65-F5344CB8AC3E}">
        <p14:creationId xmlns:p14="http://schemas.microsoft.com/office/powerpoint/2010/main" val="1337542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7"/>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3">
                                            <p:txEl>
                                              <p:pRg st="0" end="0"/>
                                            </p:txEl>
                                          </p:spTgt>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4672C4-1340-4D90-838C-3E6633A4C5C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0"/>
            <a:ext cx="8668492" cy="6857990"/>
          </a:xfrm>
          <a:prstGeom prst="rect">
            <a:avLst/>
          </a:prstGeom>
        </p:spPr>
      </p:pic>
      <p:sp>
        <p:nvSpPr>
          <p:cNvPr id="11" name="Rectangle 3">
            <a:extLst>
              <a:ext uri="{FF2B5EF4-FFF2-40B4-BE49-F238E27FC236}">
                <a16:creationId xmlns:a16="http://schemas.microsoft.com/office/drawing/2014/main" id="{A34A0FA5-801E-4026-8304-35412B4B39A3}"/>
              </a:ext>
            </a:extLst>
          </p:cNvPr>
          <p:cNvSpPr txBox="1">
            <a:spLocks noChangeArrowheads="1"/>
          </p:cNvSpPr>
          <p:nvPr/>
        </p:nvSpPr>
        <p:spPr bwMode="auto">
          <a:xfrm>
            <a:off x="7545311" y="2000211"/>
            <a:ext cx="4727369" cy="4857789"/>
          </a:xfrm>
          <a:prstGeom prst="rect">
            <a:avLst/>
          </a:prstGeom>
          <a:solidFill>
            <a:schemeClr val="bg1"/>
          </a:solidFill>
        </p:spPr>
        <p:txBody>
          <a:bodyPr vert="horz" lIns="91440" tIns="45720" rIns="91440" bIns="45720" numCol="1" rtlCol="0" anchor="t" anchorCtr="0" compatLnSpc="1">
            <a:prstTxWarp prst="textNoShape">
              <a:avLst/>
            </a:prstTxWarp>
            <a:noAutofit/>
          </a:bodyPr>
          <a:lstStyle>
            <a:lvl1pPr marL="0" indent="0" algn="ctr" rtl="0" eaLnBrk="0" fontAlgn="base" hangingPunct="0">
              <a:spcBef>
                <a:spcPct val="20000"/>
              </a:spcBef>
              <a:spcAft>
                <a:spcPct val="0"/>
              </a:spcAft>
              <a:buNone/>
              <a:defRPr sz="3200">
                <a:solidFill>
                  <a:schemeClr val="tx1"/>
                </a:solidFill>
                <a:latin typeface="+mn-lt"/>
                <a:ea typeface="+mn-ea"/>
                <a:cs typeface="+mn-cs"/>
              </a:defRPr>
            </a:lvl1pPr>
            <a:lvl2pPr marL="457200" indent="0" algn="ctr" rtl="0" eaLnBrk="0" fontAlgn="base" hangingPunct="0">
              <a:spcBef>
                <a:spcPct val="20000"/>
              </a:spcBef>
              <a:spcAft>
                <a:spcPct val="0"/>
              </a:spcAft>
              <a:buNone/>
              <a:defRPr sz="2800">
                <a:solidFill>
                  <a:schemeClr val="tx1"/>
                </a:solidFill>
                <a:latin typeface="+mn-lt"/>
                <a:cs typeface="+mn-cs"/>
              </a:defRPr>
            </a:lvl2pPr>
            <a:lvl3pPr marL="914400" indent="0" algn="ctr" rtl="0" eaLnBrk="0" fontAlgn="base" hangingPunct="0">
              <a:spcBef>
                <a:spcPct val="20000"/>
              </a:spcBef>
              <a:spcAft>
                <a:spcPct val="0"/>
              </a:spcAft>
              <a:buNone/>
              <a:defRPr sz="2400">
                <a:solidFill>
                  <a:schemeClr val="tx1"/>
                </a:solidFill>
                <a:latin typeface="+mn-lt"/>
                <a:cs typeface="+mn-cs"/>
              </a:defRPr>
            </a:lvl3pPr>
            <a:lvl4pPr marL="1371600" indent="0" algn="ctr" rtl="0" eaLnBrk="0" fontAlgn="base" hangingPunct="0">
              <a:spcBef>
                <a:spcPct val="20000"/>
              </a:spcBef>
              <a:spcAft>
                <a:spcPct val="0"/>
              </a:spcAft>
              <a:buNone/>
              <a:defRPr sz="2000">
                <a:solidFill>
                  <a:schemeClr val="tx1"/>
                </a:solidFill>
                <a:latin typeface="+mn-lt"/>
                <a:cs typeface="+mn-cs"/>
              </a:defRPr>
            </a:lvl4pPr>
            <a:lvl5pPr marL="1828800" indent="0" algn="ctr" rtl="0" eaLnBrk="0" fontAlgn="base" hangingPunct="0">
              <a:spcBef>
                <a:spcPct val="20000"/>
              </a:spcBef>
              <a:spcAft>
                <a:spcPct val="0"/>
              </a:spcAft>
              <a:buNone/>
              <a:defRPr sz="2000">
                <a:solidFill>
                  <a:schemeClr val="tx1"/>
                </a:solidFill>
                <a:latin typeface="+mn-lt"/>
                <a:cs typeface="+mn-cs"/>
              </a:defRPr>
            </a:lvl5pPr>
            <a:lvl6pPr marL="2286000" indent="0" algn="ctr" rtl="0" fontAlgn="base">
              <a:spcBef>
                <a:spcPct val="20000"/>
              </a:spcBef>
              <a:spcAft>
                <a:spcPct val="0"/>
              </a:spcAft>
              <a:buNone/>
              <a:defRPr sz="2000">
                <a:solidFill>
                  <a:schemeClr val="tx1"/>
                </a:solidFill>
                <a:latin typeface="+mn-lt"/>
                <a:cs typeface="+mn-cs"/>
              </a:defRPr>
            </a:lvl6pPr>
            <a:lvl7pPr marL="2743200" indent="0" algn="ctr" rtl="0" fontAlgn="base">
              <a:spcBef>
                <a:spcPct val="20000"/>
              </a:spcBef>
              <a:spcAft>
                <a:spcPct val="0"/>
              </a:spcAft>
              <a:buNone/>
              <a:defRPr sz="2000">
                <a:solidFill>
                  <a:schemeClr val="tx1"/>
                </a:solidFill>
                <a:latin typeface="+mn-lt"/>
                <a:cs typeface="+mn-cs"/>
              </a:defRPr>
            </a:lvl7pPr>
            <a:lvl8pPr marL="3200400" indent="0" algn="ctr" rtl="0" fontAlgn="base">
              <a:spcBef>
                <a:spcPct val="20000"/>
              </a:spcBef>
              <a:spcAft>
                <a:spcPct val="0"/>
              </a:spcAft>
              <a:buNone/>
              <a:defRPr sz="2000">
                <a:solidFill>
                  <a:schemeClr val="tx1"/>
                </a:solidFill>
                <a:latin typeface="+mn-lt"/>
                <a:cs typeface="+mn-cs"/>
              </a:defRPr>
            </a:lvl8pPr>
            <a:lvl9pPr marL="3657600" indent="0" algn="ctr" rtl="0" fontAlgn="base">
              <a:spcBef>
                <a:spcPct val="20000"/>
              </a:spcBef>
              <a:spcAft>
                <a:spcPct val="0"/>
              </a:spcAft>
              <a:buNone/>
              <a:defRPr sz="2000">
                <a:solidFill>
                  <a:schemeClr val="tx1"/>
                </a:solidFill>
                <a:latin typeface="+mn-lt"/>
                <a:cs typeface="+mn-cs"/>
              </a:defRPr>
            </a:lvl9pPr>
          </a:lstStyle>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3 milliards </a:t>
            </a:r>
            <a:r>
              <a:rPr kumimoji="0" lang="fr-CH" sz="2200" i="0" u="none" strike="noStrike" kern="1200" cap="none" spc="0" normalizeH="0" baseline="0" noProof="0" dirty="0">
                <a:ln>
                  <a:noFill/>
                </a:ln>
                <a:solidFill>
                  <a:prstClr val="black"/>
                </a:solidFill>
                <a:effectLst/>
                <a:uLnTx/>
                <a:uFillTx/>
                <a:latin typeface="Calibri"/>
                <a:ea typeface="+mn-ea"/>
                <a:cs typeface="+mn-cs"/>
              </a:rPr>
              <a:t>d’enfants vacciné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0 millions </a:t>
            </a:r>
            <a:r>
              <a:rPr kumimoji="0" lang="fr-CH" sz="2200" i="0" u="none" strike="noStrike" kern="1200" cap="none" spc="0" normalizeH="0" baseline="0" noProof="0" dirty="0">
                <a:ln>
                  <a:noFill/>
                </a:ln>
                <a:solidFill>
                  <a:prstClr val="black"/>
                </a:solidFill>
                <a:effectLst/>
                <a:uLnTx/>
                <a:uFillTx/>
                <a:latin typeface="Calibri"/>
                <a:ea typeface="+mn-ea"/>
                <a:cs typeface="+mn-cs"/>
              </a:rPr>
              <a:t>de paralysies évitée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1.5 millions </a:t>
            </a:r>
            <a:r>
              <a:rPr kumimoji="0" lang="fr-CH" sz="2200" i="0" u="none" strike="noStrike" kern="1200" cap="none" spc="0" normalizeH="0" baseline="0" noProof="0" dirty="0">
                <a:ln>
                  <a:noFill/>
                </a:ln>
                <a:solidFill>
                  <a:prstClr val="black"/>
                </a:solidFill>
                <a:effectLst/>
                <a:uLnTx/>
                <a:uFillTx/>
                <a:latin typeface="Calibri"/>
                <a:ea typeface="+mn-ea"/>
                <a:cs typeface="+mn-cs"/>
              </a:rPr>
              <a:t>vies sauvée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0 millions </a:t>
            </a:r>
            <a:r>
              <a:rPr kumimoji="0" lang="fr-CH" sz="2200" i="0" u="none" strike="noStrike" kern="1200" cap="none" spc="0" normalizeH="0" baseline="0" noProof="0" dirty="0">
                <a:ln>
                  <a:noFill/>
                </a:ln>
                <a:solidFill>
                  <a:prstClr val="black"/>
                </a:solidFill>
                <a:effectLst/>
                <a:uLnTx/>
                <a:uFillTx/>
                <a:latin typeface="Calibri"/>
                <a:ea typeface="+mn-ea"/>
                <a:cs typeface="+mn-cs"/>
              </a:rPr>
              <a:t>de bénévoles mobilisés </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2 des 3 </a:t>
            </a:r>
            <a:r>
              <a:rPr kumimoji="0" lang="fr-CH" sz="2200" i="0" u="none" strike="noStrike" kern="1200" cap="none" spc="0" normalizeH="0" baseline="0" noProof="0" dirty="0">
                <a:ln>
                  <a:noFill/>
                </a:ln>
                <a:solidFill>
                  <a:prstClr val="black"/>
                </a:solidFill>
                <a:effectLst/>
                <a:uLnTx/>
                <a:uFillTx/>
                <a:latin typeface="Calibri"/>
                <a:ea typeface="+mn-ea"/>
                <a:cs typeface="+mn-cs"/>
              </a:rPr>
              <a:t>types</a:t>
            </a:r>
            <a:r>
              <a:rPr kumimoji="0" lang="fr-CH" sz="2200" b="1" i="0" u="none" strike="noStrike" kern="1200" cap="none" spc="0" normalizeH="0" baseline="0" noProof="0" dirty="0">
                <a:ln>
                  <a:noFill/>
                </a:ln>
                <a:solidFill>
                  <a:prstClr val="black"/>
                </a:solidFill>
                <a:effectLst/>
                <a:uLnTx/>
                <a:uFillTx/>
                <a:latin typeface="Calibri"/>
                <a:ea typeface="+mn-ea"/>
                <a:cs typeface="+mn-cs"/>
              </a:rPr>
              <a:t> </a:t>
            </a:r>
            <a:r>
              <a:rPr kumimoji="0" lang="fr-CH" sz="2200" i="0" u="none" strike="noStrike" kern="1200" cap="none" spc="0" normalizeH="0" baseline="0" noProof="0" dirty="0">
                <a:ln>
                  <a:noFill/>
                </a:ln>
                <a:solidFill>
                  <a:prstClr val="black"/>
                </a:solidFill>
                <a:effectLst/>
                <a:uLnTx/>
                <a:uFillTx/>
                <a:latin typeface="Calibri"/>
                <a:ea typeface="+mn-ea"/>
                <a:cs typeface="+mn-cs"/>
              </a:rPr>
              <a:t>du virus sauvage éradiqués</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5 des 6 régions </a:t>
            </a:r>
            <a:r>
              <a:rPr kumimoji="0" lang="fr-CH" sz="2200" i="0" u="none" strike="noStrike" kern="1200" cap="none" spc="0" normalizeH="0" baseline="0" noProof="0" dirty="0">
                <a:ln>
                  <a:noFill/>
                </a:ln>
                <a:solidFill>
                  <a:prstClr val="black"/>
                </a:solidFill>
                <a:effectLst/>
                <a:uLnTx/>
                <a:uFillTx/>
                <a:latin typeface="Calibri"/>
                <a:ea typeface="+mn-ea"/>
                <a:cs typeface="+mn-cs"/>
              </a:rPr>
              <a:t>du monde libérées du virus sauvage</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Nombre de cas réduit de 99.99 %</a:t>
            </a:r>
          </a:p>
          <a:p>
            <a:pPr marL="571500" marR="0" lvl="0" indent="-571500" algn="l" defTabSz="914400" rtl="0" eaLnBrk="1" fontAlgn="base" latinLnBrk="0" hangingPunct="1">
              <a:lnSpc>
                <a:spcPct val="110000"/>
              </a:lnSpc>
              <a:spcBef>
                <a:spcPts val="600"/>
              </a:spcBef>
              <a:spcAft>
                <a:spcPts val="0"/>
              </a:spcAft>
              <a:buClrTx/>
              <a:buSzTx/>
              <a:buFont typeface="Wingdings" panose="05000000000000000000" pitchFamily="2" charset="2"/>
              <a:buChar char="§"/>
              <a:tabLst/>
              <a:defRPr/>
            </a:pPr>
            <a:r>
              <a:rPr kumimoji="0" lang="fr-CH" sz="2200" b="1" i="0" u="none" strike="noStrike" kern="1200" cap="none" spc="0" normalizeH="0" baseline="0" noProof="0" dirty="0">
                <a:ln>
                  <a:noFill/>
                </a:ln>
                <a:solidFill>
                  <a:prstClr val="black"/>
                </a:solidFill>
                <a:effectLst/>
                <a:uLnTx/>
                <a:uFillTx/>
                <a:latin typeface="Calibri"/>
                <a:ea typeface="+mn-ea"/>
                <a:cs typeface="+mn-cs"/>
              </a:rPr>
              <a:t>Et …Les Plus de PolioPlus</a:t>
            </a:r>
            <a:endParaRPr kumimoji="0" lang="fr-CH" sz="220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9DEAA53A-C8E4-4A0A-AC5E-2F3AB4BEF6DE}"/>
              </a:ext>
            </a:extLst>
          </p:cNvPr>
          <p:cNvSpPr txBox="1"/>
          <p:nvPr/>
        </p:nvSpPr>
        <p:spPr>
          <a:xfrm>
            <a:off x="7551631" y="1351587"/>
            <a:ext cx="4725433" cy="654018"/>
          </a:xfrm>
          <a:prstGeom prst="rect">
            <a:avLst/>
          </a:prstGeom>
          <a:solidFill>
            <a:schemeClr val="bg1"/>
          </a:solidFill>
        </p:spPr>
        <p:txBody>
          <a:bodyPr vert="horz" lIns="91440" tIns="45720" rIns="91440" bIns="45720" rtlCol="0" anchor="b">
            <a:normAutofit/>
          </a:bodyPr>
          <a:lstStyle>
            <a:defPPr>
              <a:defRPr lang="en-US"/>
            </a:defPPr>
            <a:lvl1pPr marR="0" lvl="0" indent="0" algn="ctr" defTabSz="457200" fontAlgn="base">
              <a:lnSpc>
                <a:spcPct val="100000"/>
              </a:lnSpc>
              <a:spcBef>
                <a:spcPct val="0"/>
              </a:spcBef>
              <a:spcAft>
                <a:spcPct val="0"/>
              </a:spcAft>
              <a:buClrTx/>
              <a:buSzTx/>
              <a:buFontTx/>
              <a:buNone/>
              <a:tabLst/>
              <a:defRPr sz="3600" b="1">
                <a:solidFill>
                  <a:srgbClr val="F49B03"/>
                </a:solidFill>
                <a:latin typeface="+mj-lt"/>
                <a:ea typeface="+mj-ea"/>
                <a:cs typeface="+mj-cs"/>
              </a:defRPr>
            </a:lvl1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fr-CH" altLang="en-US" sz="2800" b="1" i="0" u="none" strike="noStrike" kern="1200" cap="none" spc="0" normalizeH="0" baseline="0" noProof="0" dirty="0">
                <a:ln>
                  <a:noFill/>
                </a:ln>
                <a:solidFill>
                  <a:srgbClr val="F49B03"/>
                </a:solidFill>
                <a:effectLst/>
                <a:uLnTx/>
                <a:uFillTx/>
                <a:latin typeface="Calibri"/>
                <a:ea typeface="+mj-ea"/>
                <a:cs typeface="+mj-cs"/>
              </a:rPr>
              <a:t>Soyons Fiers !</a:t>
            </a:r>
          </a:p>
        </p:txBody>
      </p:sp>
      <p:pic>
        <p:nvPicPr>
          <p:cNvPr id="5" name="Image 4">
            <a:extLst>
              <a:ext uri="{FF2B5EF4-FFF2-40B4-BE49-F238E27FC236}">
                <a16:creationId xmlns:a16="http://schemas.microsoft.com/office/drawing/2014/main" id="{A45E72B6-CA47-36B5-1E3C-CD9B00E401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68512" y="29137"/>
            <a:ext cx="767183" cy="974685"/>
          </a:xfrm>
          <a:prstGeom prst="rect">
            <a:avLst/>
          </a:prstGeom>
        </p:spPr>
      </p:pic>
      <p:pic>
        <p:nvPicPr>
          <p:cNvPr id="3" name="Image 2" descr="Une image contenant texte, clipart&#10;&#10;Description générée automatiquement">
            <a:extLst>
              <a:ext uri="{FF2B5EF4-FFF2-40B4-BE49-F238E27FC236}">
                <a16:creationId xmlns:a16="http://schemas.microsoft.com/office/drawing/2014/main" id="{CE5D89D6-2708-F2D4-F090-7A6513B1FFA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45749" y="29137"/>
            <a:ext cx="2062716" cy="947812"/>
          </a:xfrm>
          <a:prstGeom prst="rect">
            <a:avLst/>
          </a:prstGeom>
        </p:spPr>
      </p:pic>
      <p:sp>
        <p:nvSpPr>
          <p:cNvPr id="4" name="ZoneTexte 3">
            <a:extLst>
              <a:ext uri="{FF2B5EF4-FFF2-40B4-BE49-F238E27FC236}">
                <a16:creationId xmlns:a16="http://schemas.microsoft.com/office/drawing/2014/main" id="{D9A83CFB-3501-FE72-C488-897FBB722EF1}"/>
              </a:ext>
            </a:extLst>
          </p:cNvPr>
          <p:cNvSpPr txBox="1"/>
          <p:nvPr/>
        </p:nvSpPr>
        <p:spPr>
          <a:xfrm>
            <a:off x="7551631" y="1032780"/>
            <a:ext cx="4725413" cy="523220"/>
          </a:xfrm>
          <a:prstGeom prst="rect">
            <a:avLst/>
          </a:prstGeom>
          <a:solidFill>
            <a:schemeClr val="bg1"/>
          </a:solidFill>
        </p:spPr>
        <p:txBody>
          <a:bodyPr wrap="square" rtlCol="0">
            <a:spAutoFit/>
          </a:bodyPr>
          <a:lstStyle/>
          <a:p>
            <a:pPr algn="ctr"/>
            <a:r>
              <a:rPr kumimoji="0" lang="fr-CH" altLang="en-US" sz="2800" b="1" i="0" u="none" strike="noStrike" kern="1200" cap="none" spc="0" normalizeH="0" baseline="0" noProof="0" dirty="0">
                <a:ln>
                  <a:noFill/>
                </a:ln>
                <a:solidFill>
                  <a:srgbClr val="F49B03"/>
                </a:solidFill>
                <a:effectLst/>
                <a:uLnTx/>
                <a:uFillTx/>
                <a:latin typeface="Calibri"/>
                <a:ea typeface="+mj-ea"/>
                <a:cs typeface="+mj-cs"/>
              </a:rPr>
              <a:t>Message aux Rotariens </a:t>
            </a:r>
          </a:p>
        </p:txBody>
      </p:sp>
    </p:spTree>
    <p:extLst>
      <p:ext uri="{BB962C8B-B14F-4D97-AF65-F5344CB8AC3E}">
        <p14:creationId xmlns:p14="http://schemas.microsoft.com/office/powerpoint/2010/main" val="2726808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1660" y="-123988"/>
            <a:ext cx="12243660" cy="612183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B91570C-E561-42D4-8939-76678DD960D8}"/>
              </a:ext>
            </a:extLst>
          </p:cNvPr>
          <p:cNvSpPr/>
          <p:nvPr/>
        </p:nvSpPr>
        <p:spPr>
          <a:xfrm>
            <a:off x="0" y="-49407"/>
            <a:ext cx="12192000" cy="6940953"/>
          </a:xfrm>
          <a:prstGeom prst="rect">
            <a:avLst/>
          </a:prstGeom>
          <a:solidFill>
            <a:schemeClr val="bg1"/>
          </a:solidFill>
          <a:ln>
            <a:solidFill>
              <a:srgbClr val="F9F4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C7D783A0-ABCB-4E9F-A422-39C59911E78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290433" y="2750848"/>
            <a:ext cx="1358981" cy="1164748"/>
          </a:xfrm>
          <a:prstGeom prst="rect">
            <a:avLst/>
          </a:prstGeom>
        </p:spPr>
      </p:pic>
      <p:pic>
        <p:nvPicPr>
          <p:cNvPr id="7" name="Picture 6">
            <a:extLst>
              <a:ext uri="{FF2B5EF4-FFF2-40B4-BE49-F238E27FC236}">
                <a16:creationId xmlns:a16="http://schemas.microsoft.com/office/drawing/2014/main" id="{658D26AE-BF00-4C14-9037-E634B6043FE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15716" y="1581701"/>
            <a:ext cx="1253679" cy="1164748"/>
          </a:xfrm>
          <a:prstGeom prst="rect">
            <a:avLst/>
          </a:prstGeom>
        </p:spPr>
      </p:pic>
      <p:pic>
        <p:nvPicPr>
          <p:cNvPr id="8" name="Picture 7">
            <a:extLst>
              <a:ext uri="{FF2B5EF4-FFF2-40B4-BE49-F238E27FC236}">
                <a16:creationId xmlns:a16="http://schemas.microsoft.com/office/drawing/2014/main" id="{94ACF1D2-1B5D-444B-AF0B-48C77DA4341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435696" y="2750848"/>
            <a:ext cx="1228577" cy="1164748"/>
          </a:xfrm>
          <a:prstGeom prst="rect">
            <a:avLst/>
          </a:prstGeom>
        </p:spPr>
      </p:pic>
      <p:pic>
        <p:nvPicPr>
          <p:cNvPr id="9" name="Picture 8">
            <a:extLst>
              <a:ext uri="{FF2B5EF4-FFF2-40B4-BE49-F238E27FC236}">
                <a16:creationId xmlns:a16="http://schemas.microsoft.com/office/drawing/2014/main" id="{CAB01C73-8570-4EE2-AE8B-5E715882D04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185391" y="4499845"/>
            <a:ext cx="1228578" cy="1164748"/>
          </a:xfrm>
          <a:prstGeom prst="rect">
            <a:avLst/>
          </a:prstGeom>
        </p:spPr>
      </p:pic>
      <p:pic>
        <p:nvPicPr>
          <p:cNvPr id="10" name="Picture 9">
            <a:extLst>
              <a:ext uri="{FF2B5EF4-FFF2-40B4-BE49-F238E27FC236}">
                <a16:creationId xmlns:a16="http://schemas.microsoft.com/office/drawing/2014/main" id="{859C5A8F-3B17-4753-BC98-92B5E89ACB7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188663" y="4233381"/>
            <a:ext cx="1763014" cy="2339324"/>
          </a:xfrm>
          <a:prstGeom prst="rect">
            <a:avLst/>
          </a:prstGeom>
        </p:spPr>
      </p:pic>
      <p:pic>
        <p:nvPicPr>
          <p:cNvPr id="11" name="Picture 10">
            <a:extLst>
              <a:ext uri="{FF2B5EF4-FFF2-40B4-BE49-F238E27FC236}">
                <a16:creationId xmlns:a16="http://schemas.microsoft.com/office/drawing/2014/main" id="{FD58B789-9309-4701-8694-19E4CB4C35CA}"/>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408568" y="4499845"/>
            <a:ext cx="1358982" cy="1164748"/>
          </a:xfrm>
          <a:prstGeom prst="rect">
            <a:avLst/>
          </a:prstGeom>
        </p:spPr>
      </p:pic>
      <p:sp>
        <p:nvSpPr>
          <p:cNvPr id="12" name="TextBox 11">
            <a:extLst>
              <a:ext uri="{FF2B5EF4-FFF2-40B4-BE49-F238E27FC236}">
                <a16:creationId xmlns:a16="http://schemas.microsoft.com/office/drawing/2014/main" id="{201DFC6B-00DB-4B05-8E3A-FF7455D6FF62}"/>
              </a:ext>
            </a:extLst>
          </p:cNvPr>
          <p:cNvSpPr txBox="1"/>
          <p:nvPr/>
        </p:nvSpPr>
        <p:spPr>
          <a:xfrm>
            <a:off x="738281" y="120684"/>
            <a:ext cx="10985102" cy="1200329"/>
          </a:xfrm>
          <a:prstGeom prst="rect">
            <a:avLst/>
          </a:prstGeom>
          <a:noFill/>
        </p:spPr>
        <p:txBody>
          <a:bodyPr wrap="square" rtlCol="0">
            <a:spAutoFit/>
          </a:bodyPr>
          <a:lstStyle/>
          <a:p>
            <a:pPr algn="ctr" defTabSz="457200" eaLnBrk="0" fontAlgn="base" hangingPunct="0">
              <a:spcBef>
                <a:spcPct val="0"/>
              </a:spcBef>
              <a:spcAft>
                <a:spcPct val="0"/>
              </a:spcAft>
            </a:pPr>
            <a:r>
              <a:rPr lang="fr-CH" sz="3600" b="1" dirty="0">
                <a:solidFill>
                  <a:srgbClr val="F49B03"/>
                </a:solidFill>
                <a:latin typeface="+mj-lt"/>
                <a:ea typeface="+mj-ea"/>
                <a:cs typeface="+mj-cs"/>
              </a:rPr>
              <a:t>Un des PLUS de PolioPlus </a:t>
            </a:r>
          </a:p>
          <a:p>
            <a:pPr algn="ctr" defTabSz="457200" eaLnBrk="0" fontAlgn="base" hangingPunct="0">
              <a:spcBef>
                <a:spcPct val="0"/>
              </a:spcBef>
              <a:spcAft>
                <a:spcPct val="0"/>
              </a:spcAft>
            </a:pPr>
            <a:r>
              <a:rPr lang="fr-CH" sz="3600" b="1" dirty="0">
                <a:solidFill>
                  <a:srgbClr val="F49B03"/>
                </a:solidFill>
                <a:latin typeface="+mj-lt"/>
                <a:ea typeface="+mj-ea"/>
                <a:cs typeface="+mj-cs"/>
              </a:rPr>
              <a:t>Notre Rôle dans la Pandémie de Covid-19 </a:t>
            </a:r>
          </a:p>
        </p:txBody>
      </p:sp>
      <p:sp>
        <p:nvSpPr>
          <p:cNvPr id="14" name="TextBox 13">
            <a:extLst>
              <a:ext uri="{FF2B5EF4-FFF2-40B4-BE49-F238E27FC236}">
                <a16:creationId xmlns:a16="http://schemas.microsoft.com/office/drawing/2014/main" id="{DFE54355-C119-4F35-A1A0-3955921D00C2}"/>
              </a:ext>
            </a:extLst>
          </p:cNvPr>
          <p:cNvSpPr txBox="1"/>
          <p:nvPr/>
        </p:nvSpPr>
        <p:spPr>
          <a:xfrm>
            <a:off x="430659" y="2441745"/>
            <a:ext cx="2618720" cy="1569660"/>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Education </a:t>
            </a:r>
          </a:p>
          <a:p>
            <a:pPr algn="ctr"/>
            <a:r>
              <a:rPr lang="fr-FR" sz="2400" b="1" dirty="0">
                <a:solidFill>
                  <a:srgbClr val="004E9B"/>
                </a:solidFill>
                <a:latin typeface="DIN Next LT Pro Bold Condensed" panose="020B0806020203050203" pitchFamily="34" charset="0"/>
              </a:rPr>
              <a:t>et sensibilisation aux gestes de protection </a:t>
            </a:r>
          </a:p>
        </p:txBody>
      </p:sp>
      <p:sp>
        <p:nvSpPr>
          <p:cNvPr id="15" name="TextBox 14">
            <a:extLst>
              <a:ext uri="{FF2B5EF4-FFF2-40B4-BE49-F238E27FC236}">
                <a16:creationId xmlns:a16="http://schemas.microsoft.com/office/drawing/2014/main" id="{9EC9E8BC-12EF-48FA-9D4A-D8693F164354}"/>
              </a:ext>
            </a:extLst>
          </p:cNvPr>
          <p:cNvSpPr txBox="1"/>
          <p:nvPr/>
        </p:nvSpPr>
        <p:spPr>
          <a:xfrm>
            <a:off x="374106" y="4586267"/>
            <a:ext cx="2077112" cy="830997"/>
          </a:xfrm>
          <a:prstGeom prst="rect">
            <a:avLst/>
          </a:prstGeom>
          <a:noFill/>
        </p:spPr>
        <p:txBody>
          <a:bodyPr wrap="square" rtlCol="0">
            <a:spAutoFit/>
          </a:bodyPr>
          <a:lstStyle/>
          <a:p>
            <a:pPr algn="ctr"/>
            <a:r>
              <a:rPr lang="en-US" sz="2400" b="1" dirty="0">
                <a:solidFill>
                  <a:srgbClr val="004E9B"/>
                </a:solidFill>
                <a:latin typeface="DIN Next LT Pro Bold Condensed" panose="020B0806020203050203" pitchFamily="34" charset="0"/>
              </a:rPr>
              <a:t>Coordination de la </a:t>
            </a:r>
            <a:r>
              <a:rPr lang="en-US" sz="2400" b="1" dirty="0" err="1">
                <a:solidFill>
                  <a:srgbClr val="004E9B"/>
                </a:solidFill>
                <a:latin typeface="DIN Next LT Pro Bold Condensed" panose="020B0806020203050203" pitchFamily="34" charset="0"/>
              </a:rPr>
              <a:t>réponse</a:t>
            </a:r>
            <a:r>
              <a:rPr lang="en-US" sz="2400" b="1" dirty="0">
                <a:solidFill>
                  <a:srgbClr val="004E9B"/>
                </a:solidFill>
                <a:latin typeface="DIN Next LT Pro Bold Condensed" panose="020B0806020203050203" pitchFamily="34" charset="0"/>
              </a:rPr>
              <a:t> </a:t>
            </a:r>
          </a:p>
        </p:txBody>
      </p:sp>
      <p:sp>
        <p:nvSpPr>
          <p:cNvPr id="16" name="TextBox 15">
            <a:extLst>
              <a:ext uri="{FF2B5EF4-FFF2-40B4-BE49-F238E27FC236}">
                <a16:creationId xmlns:a16="http://schemas.microsoft.com/office/drawing/2014/main" id="{7C992011-C3CB-483A-93D9-6AE867CD6905}"/>
              </a:ext>
            </a:extLst>
          </p:cNvPr>
          <p:cNvSpPr txBox="1"/>
          <p:nvPr/>
        </p:nvSpPr>
        <p:spPr>
          <a:xfrm>
            <a:off x="2173062" y="1487604"/>
            <a:ext cx="3593721" cy="830997"/>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Identification </a:t>
            </a:r>
          </a:p>
          <a:p>
            <a:pPr algn="ctr"/>
            <a:r>
              <a:rPr lang="fr-FR" sz="2400" b="1" dirty="0">
                <a:solidFill>
                  <a:srgbClr val="004E9B"/>
                </a:solidFill>
                <a:latin typeface="DIN Next LT Pro Bold Condensed" panose="020B0806020203050203" pitchFamily="34" charset="0"/>
              </a:rPr>
              <a:t>des malades</a:t>
            </a:r>
          </a:p>
        </p:txBody>
      </p:sp>
      <p:sp>
        <p:nvSpPr>
          <p:cNvPr id="17" name="TextBox 16">
            <a:extLst>
              <a:ext uri="{FF2B5EF4-FFF2-40B4-BE49-F238E27FC236}">
                <a16:creationId xmlns:a16="http://schemas.microsoft.com/office/drawing/2014/main" id="{165EF000-AF34-46E1-B0C3-103B3EAD6567}"/>
              </a:ext>
            </a:extLst>
          </p:cNvPr>
          <p:cNvSpPr txBox="1"/>
          <p:nvPr/>
        </p:nvSpPr>
        <p:spPr>
          <a:xfrm>
            <a:off x="8715933" y="2845785"/>
            <a:ext cx="2802493" cy="830997"/>
          </a:xfrm>
          <a:prstGeom prst="rect">
            <a:avLst/>
          </a:prstGeom>
          <a:noFill/>
        </p:spPr>
        <p:txBody>
          <a:bodyPr wrap="square" rtlCol="0">
            <a:spAutoFit/>
          </a:bodyPr>
          <a:lstStyle/>
          <a:p>
            <a:pPr algn="ctr"/>
            <a:r>
              <a:rPr lang="en-US" sz="2400" b="1" dirty="0">
                <a:solidFill>
                  <a:srgbClr val="004E9B"/>
                </a:solidFill>
                <a:latin typeface="DIN Next LT Pro Bold Condensed" panose="020B0806020203050203" pitchFamily="34" charset="0"/>
              </a:rPr>
              <a:t>Formation du personnel de santé </a:t>
            </a:r>
          </a:p>
        </p:txBody>
      </p:sp>
      <p:sp>
        <p:nvSpPr>
          <p:cNvPr id="18" name="TextBox 17">
            <a:extLst>
              <a:ext uri="{FF2B5EF4-FFF2-40B4-BE49-F238E27FC236}">
                <a16:creationId xmlns:a16="http://schemas.microsoft.com/office/drawing/2014/main" id="{19D85C23-F627-4105-B639-32EF1CE3E3F1}"/>
              </a:ext>
            </a:extLst>
          </p:cNvPr>
          <p:cNvSpPr txBox="1"/>
          <p:nvPr/>
        </p:nvSpPr>
        <p:spPr>
          <a:xfrm>
            <a:off x="9630708" y="4586267"/>
            <a:ext cx="2077112" cy="830997"/>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Traçage des contacts </a:t>
            </a:r>
          </a:p>
        </p:txBody>
      </p:sp>
      <p:sp>
        <p:nvSpPr>
          <p:cNvPr id="19" name="TextBox 18">
            <a:extLst>
              <a:ext uri="{FF2B5EF4-FFF2-40B4-BE49-F238E27FC236}">
                <a16:creationId xmlns:a16="http://schemas.microsoft.com/office/drawing/2014/main" id="{4BA69222-AEB9-4D1A-8888-244F520D6C5B}"/>
              </a:ext>
            </a:extLst>
          </p:cNvPr>
          <p:cNvSpPr txBox="1"/>
          <p:nvPr/>
        </p:nvSpPr>
        <p:spPr>
          <a:xfrm>
            <a:off x="6920796" y="1487604"/>
            <a:ext cx="4011064" cy="830997"/>
          </a:xfrm>
          <a:prstGeom prst="rect">
            <a:avLst/>
          </a:prstGeom>
          <a:noFill/>
        </p:spPr>
        <p:txBody>
          <a:bodyPr wrap="square" rtlCol="0">
            <a:spAutoFit/>
          </a:bodyPr>
          <a:lstStyle/>
          <a:p>
            <a:pPr algn="ctr"/>
            <a:r>
              <a:rPr lang="fr-FR" sz="2400" b="1" dirty="0">
                <a:solidFill>
                  <a:srgbClr val="004E9B"/>
                </a:solidFill>
                <a:latin typeface="DIN Next LT Pro Bold Condensed" panose="020B0806020203050203" pitchFamily="34" charset="0"/>
              </a:rPr>
              <a:t>Confirmation par les laboratoires du programme </a:t>
            </a:r>
          </a:p>
        </p:txBody>
      </p:sp>
      <p:pic>
        <p:nvPicPr>
          <p:cNvPr id="13" name="Image 12">
            <a:extLst>
              <a:ext uri="{FF2B5EF4-FFF2-40B4-BE49-F238E27FC236}">
                <a16:creationId xmlns:a16="http://schemas.microsoft.com/office/drawing/2014/main" id="{6384CE35-D0E2-81E4-786C-5C0D69C9CCF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087379" y="0"/>
            <a:ext cx="913062" cy="1160020"/>
          </a:xfrm>
          <a:prstGeom prst="rect">
            <a:avLst/>
          </a:prstGeom>
        </p:spPr>
      </p:pic>
      <p:pic>
        <p:nvPicPr>
          <p:cNvPr id="2" name="Image 1" descr="Une image contenant texte, clipart&#10;&#10;Description générée automatiquement">
            <a:extLst>
              <a:ext uri="{FF2B5EF4-FFF2-40B4-BE49-F238E27FC236}">
                <a16:creationId xmlns:a16="http://schemas.microsoft.com/office/drawing/2014/main" id="{36EB5911-E414-1283-BE2F-FC2B905CB8B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91559" y="39870"/>
            <a:ext cx="1887182" cy="867155"/>
          </a:xfrm>
          <a:prstGeom prst="rect">
            <a:avLst/>
          </a:prstGeom>
        </p:spPr>
      </p:pic>
    </p:spTree>
    <p:extLst>
      <p:ext uri="{BB962C8B-B14F-4D97-AF65-F5344CB8AC3E}">
        <p14:creationId xmlns:p14="http://schemas.microsoft.com/office/powerpoint/2010/main" val="2733852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EuropeanCommissionBreakfastMeetingMichelZaffran rev">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Rotary Palette">
      <a:dk1>
        <a:srgbClr val="01B4E7"/>
      </a:dk1>
      <a:lt1>
        <a:srgbClr val="FFFFFF"/>
      </a:lt1>
      <a:dk2>
        <a:srgbClr val="01B4E7"/>
      </a:dk2>
      <a:lt2>
        <a:srgbClr val="FFFFFF"/>
      </a:lt2>
      <a:accent1>
        <a:srgbClr val="F7A81B"/>
      </a:accent1>
      <a:accent2>
        <a:srgbClr val="D91B5C"/>
      </a:accent2>
      <a:accent3>
        <a:srgbClr val="009999"/>
      </a:accent3>
      <a:accent4>
        <a:srgbClr val="872175"/>
      </a:accent4>
      <a:accent5>
        <a:srgbClr val="FF7600"/>
      </a:accent5>
      <a:accent6>
        <a:srgbClr val="005DAA"/>
      </a:accent6>
      <a:hlink>
        <a:srgbClr val="17458F"/>
      </a:hlink>
      <a:folHlink>
        <a:srgbClr val="C9DEE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EuropeanCommissionBreakfastMeetingMichelZaffran rev">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E76742D4DB68A489532F5BCF3A877B0" ma:contentTypeVersion="13" ma:contentTypeDescription="Create a new document." ma:contentTypeScope="" ma:versionID="2700e56b8c4cd760f39348a912510312">
  <xsd:schema xmlns:xsd="http://www.w3.org/2001/XMLSchema" xmlns:xs="http://www.w3.org/2001/XMLSchema" xmlns:p="http://schemas.microsoft.com/office/2006/metadata/properties" xmlns:ns3="135c21ef-598c-46b5-b05c-090a48a494fa" xmlns:ns4="f2f76fcc-f37a-469d-ab23-63e3147ee15d" targetNamespace="http://schemas.microsoft.com/office/2006/metadata/properties" ma:root="true" ma:fieldsID="a1bc8509bab227bf93fc76f478fd0d90" ns3:_="" ns4:_="">
    <xsd:import namespace="135c21ef-598c-46b5-b05c-090a48a494fa"/>
    <xsd:import namespace="f2f76fcc-f37a-469d-ab23-63e3147ee15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5c21ef-598c-46b5-b05c-090a48a494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f76fcc-f37a-469d-ab23-63e3147ee15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FD0705-A8FA-450D-9F92-D808905789A5}">
  <ds:schemaRefs>
    <ds:schemaRef ds:uri="http://www.w3.org/XML/1998/namespace"/>
    <ds:schemaRef ds:uri="http://schemas.microsoft.com/office/2006/metadata/properties"/>
    <ds:schemaRef ds:uri="http://schemas.openxmlformats.org/package/2006/metadata/core-properties"/>
    <ds:schemaRef ds:uri="http://purl.org/dc/elements/1.1/"/>
    <ds:schemaRef ds:uri="http://purl.org/dc/dcmitype/"/>
    <ds:schemaRef ds:uri="135c21ef-598c-46b5-b05c-090a48a494fa"/>
    <ds:schemaRef ds:uri="http://schemas.microsoft.com/office/2006/documentManagement/types"/>
    <ds:schemaRef ds:uri="http://schemas.microsoft.com/office/infopath/2007/PartnerControls"/>
    <ds:schemaRef ds:uri="f2f76fcc-f37a-469d-ab23-63e3147ee15d"/>
    <ds:schemaRef ds:uri="http://purl.org/dc/terms/"/>
  </ds:schemaRefs>
</ds:datastoreItem>
</file>

<file path=customXml/itemProps2.xml><?xml version="1.0" encoding="utf-8"?>
<ds:datastoreItem xmlns:ds="http://schemas.openxmlformats.org/officeDocument/2006/customXml" ds:itemID="{F92C8B9A-9624-4A89-93FB-D54F1DAD488F}">
  <ds:schemaRefs>
    <ds:schemaRef ds:uri="http://schemas.microsoft.com/sharepoint/v3/contenttype/forms"/>
  </ds:schemaRefs>
</ds:datastoreItem>
</file>

<file path=customXml/itemProps3.xml><?xml version="1.0" encoding="utf-8"?>
<ds:datastoreItem xmlns:ds="http://schemas.openxmlformats.org/officeDocument/2006/customXml" ds:itemID="{C76132B7-51BF-4723-9EE9-E778703EE2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5c21ef-598c-46b5-b05c-090a48a494fa"/>
    <ds:schemaRef ds:uri="f2f76fcc-f37a-469d-ab23-63e3147ee1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569</Words>
  <Application>Microsoft Office PowerPoint</Application>
  <PresentationFormat>Grand écran</PresentationFormat>
  <Paragraphs>189</Paragraphs>
  <Slides>19</Slides>
  <Notes>12</Notes>
  <HiddenSlides>0</HiddenSlides>
  <MMClips>0</MMClips>
  <ScaleCrop>false</ScaleCrop>
  <HeadingPairs>
    <vt:vector size="8" baseType="variant">
      <vt:variant>
        <vt:lpstr>Polices utilisées</vt:lpstr>
      </vt:variant>
      <vt:variant>
        <vt:i4>10</vt:i4>
      </vt:variant>
      <vt:variant>
        <vt:lpstr>Thème</vt:lpstr>
      </vt:variant>
      <vt:variant>
        <vt:i4>8</vt:i4>
      </vt:variant>
      <vt:variant>
        <vt:lpstr>Serveurs OLE incorporés</vt:lpstr>
      </vt:variant>
      <vt:variant>
        <vt:i4>1</vt:i4>
      </vt:variant>
      <vt:variant>
        <vt:lpstr>Titres des diapositives</vt:lpstr>
      </vt:variant>
      <vt:variant>
        <vt:i4>19</vt:i4>
      </vt:variant>
    </vt:vector>
  </HeadingPairs>
  <TitlesOfParts>
    <vt:vector size="38" baseType="lpstr">
      <vt:lpstr>Arial</vt:lpstr>
      <vt:lpstr>Arial (W1)</vt:lpstr>
      <vt:lpstr>Arial Black</vt:lpstr>
      <vt:lpstr>Avenir Next LT Pro</vt:lpstr>
      <vt:lpstr>Calibri</vt:lpstr>
      <vt:lpstr>Calibri Light</vt:lpstr>
      <vt:lpstr>Corbel</vt:lpstr>
      <vt:lpstr>D-DIN</vt:lpstr>
      <vt:lpstr>DIN Next LT Pro Bold Condensed</vt:lpstr>
      <vt:lpstr>Wingdings</vt:lpstr>
      <vt:lpstr>2_Office Theme</vt:lpstr>
      <vt:lpstr>Theme1</vt:lpstr>
      <vt:lpstr>EuropeanCommissionBreakfastMeetingMichelZaffran rev</vt:lpstr>
      <vt:lpstr>1_Theme1</vt:lpstr>
      <vt:lpstr>Office Theme</vt:lpstr>
      <vt:lpstr>3_Office Theme</vt:lpstr>
      <vt:lpstr>1_EuropeanCommissionBreakfastMeetingMichelZaffran rev</vt:lpstr>
      <vt:lpstr>1_Office Theme</vt:lpstr>
      <vt:lpstr>think-cell Slide</vt:lpstr>
      <vt:lpstr>Présentation PowerPoint</vt:lpstr>
      <vt:lpstr>1985</vt:lpstr>
      <vt:lpstr>Les derniers cas   </vt:lpstr>
      <vt:lpstr>Présentation PowerPoint</vt:lpstr>
      <vt:lpstr>Présentation PowerPoint</vt:lpstr>
      <vt:lpstr>Présentation PowerPoint</vt:lpstr>
      <vt:lpstr>Le nouveau vaccin oral (nVPO2)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Un responsable polio dans votre club? </vt:lpstr>
      <vt:lpstr>Présentation PowerPoint</vt:lpstr>
      <vt:lpstr>www.cerclepolioplus.org </vt:lpstr>
      <vt:lpstr>ACTIONS</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FFRAN, Michel Jose</dc:creator>
  <cp:lastModifiedBy>Demoisy, Xavier</cp:lastModifiedBy>
  <cp:revision>28</cp:revision>
  <dcterms:created xsi:type="dcterms:W3CDTF">2020-09-09T13:43:30Z</dcterms:created>
  <dcterms:modified xsi:type="dcterms:W3CDTF">2023-09-17T05:5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76742D4DB68A489532F5BCF3A877B0</vt:lpwstr>
  </property>
</Properties>
</file>